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3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7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1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1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772" r:id="rId6"/>
  </p:sldMasterIdLst>
  <p:notesMasterIdLst>
    <p:notesMasterId r:id="rId33"/>
  </p:notesMasterIdLst>
  <p:sldIdLst>
    <p:sldId id="2145706743" r:id="rId7"/>
    <p:sldId id="2145706761" r:id="rId8"/>
    <p:sldId id="2145706812" r:id="rId9"/>
    <p:sldId id="2145706840" r:id="rId10"/>
    <p:sldId id="2145706841" r:id="rId11"/>
    <p:sldId id="2145706821" r:id="rId12"/>
    <p:sldId id="2145706850" r:id="rId13"/>
    <p:sldId id="2145706851" r:id="rId14"/>
    <p:sldId id="2145706853" r:id="rId15"/>
    <p:sldId id="2145706936" r:id="rId16"/>
    <p:sldId id="2145706881" r:id="rId17"/>
    <p:sldId id="2145706849" r:id="rId18"/>
    <p:sldId id="2145706825" r:id="rId19"/>
    <p:sldId id="2145706933" r:id="rId20"/>
    <p:sldId id="2145706855" r:id="rId21"/>
    <p:sldId id="2145706865" r:id="rId22"/>
    <p:sldId id="2145706883" r:id="rId23"/>
    <p:sldId id="2145706930" r:id="rId24"/>
    <p:sldId id="2145706867" r:id="rId25"/>
    <p:sldId id="2145706929" r:id="rId26"/>
    <p:sldId id="2145706856" r:id="rId27"/>
    <p:sldId id="2145706857" r:id="rId28"/>
    <p:sldId id="2145706932" r:id="rId29"/>
    <p:sldId id="2145706874" r:id="rId30"/>
    <p:sldId id="2145706875" r:id="rId31"/>
    <p:sldId id="2145706877" r:id="rId32"/>
  </p:sldIdLst>
  <p:sldSz cx="12192000" cy="6858000"/>
  <p:notesSz cx="6735763" cy="9866313"/>
  <p:custDataLst>
    <p:tags r:id="rId3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8B2D"/>
    <a:srgbClr val="F7F7F7"/>
    <a:srgbClr val="F2F2F2"/>
    <a:srgbClr val="F2F1F1"/>
    <a:srgbClr val="FBEEE8"/>
    <a:srgbClr val="F7DACD"/>
    <a:srgbClr val="BFBFBF"/>
    <a:srgbClr val="FFFFFF"/>
    <a:srgbClr val="FAF8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02" autoAdjust="0"/>
    <p:restoredTop sz="96296"/>
  </p:normalViewPr>
  <p:slideViewPr>
    <p:cSldViewPr snapToGrid="0" snapToObjects="1" showGuides="1">
      <p:cViewPr varScale="1">
        <p:scale>
          <a:sx n="88" d="100"/>
          <a:sy n="88" d="100"/>
        </p:scale>
        <p:origin x="114" y="60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282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D21-4D7E-9687-DE912E1052D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D21-4D7E-9687-DE912E1052D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D21-4D7E-9687-DE912E1052D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3D21-4D7E-9687-DE912E1052D2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8FB02518-5097-474D-86E7-6736833EAE01}" type="PERCENTAGE">
                      <a:rPr lang="en-US" baseline="0" smtClean="0"/>
                      <a:pPr/>
                      <a:t>[ПРОЦЕНТ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D21-4D7E-9687-DE912E1052D2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endParaRPr lang="en-US" baseline="0"/>
                  </a:p>
                  <a:p>
                    <a:fld id="{CA85DB88-D215-4AAA-BBC0-30B256041941}" type="PERCENTAGE">
                      <a:rPr lang="en-US" baseline="0" smtClean="0"/>
                      <a:pPr/>
                      <a:t>[ПРОЦЕНТ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21-4D7E-9687-DE912E1052D2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CCF9CD02-06A0-4D7B-9A39-A26F44EFB764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D21-4D7E-9687-DE912E1052D2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aseline="0"/>
                      <a:t> </a:t>
                    </a:r>
                    <a:fld id="{27FF597A-BB27-474E-A27B-4A10EA8F3B56}" type="PERCENTAGE">
                      <a:rPr lang="en-US" baseline="0"/>
                      <a:pPr/>
                      <a:t>[ПРОЦЕНТ]</a:t>
                    </a:fld>
                    <a:endParaRPr lang="en-US" baseline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D21-4D7E-9687-DE912E1052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B$4:$E$4</c:f>
              <c:strCache>
                <c:ptCount val="4"/>
                <c:pt idx="0">
                  <c:v>руководители</c:v>
                </c:pt>
                <c:pt idx="1">
                  <c:v>специалисты</c:v>
                </c:pt>
                <c:pt idx="2">
                  <c:v>служащие</c:v>
                </c:pt>
                <c:pt idx="3">
                  <c:v>рабочие</c:v>
                </c:pt>
              </c:strCache>
            </c:strRef>
          </c:cat>
          <c:val>
            <c:numRef>
              <c:f>Лист1!$B$5:$E$5</c:f>
              <c:numCache>
                <c:formatCode>0.0%</c:formatCode>
                <c:ptCount val="4"/>
                <c:pt idx="0">
                  <c:v>0.11899999999999999</c:v>
                </c:pt>
                <c:pt idx="1">
                  <c:v>0.161</c:v>
                </c:pt>
                <c:pt idx="2">
                  <c:v>5.0000000000000001E-3</c:v>
                </c:pt>
                <c:pt idx="3">
                  <c:v>0.72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21-4D7E-9687-DE912E1052D2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устроено выпускники СПО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2019 год</c:v>
                </c:pt>
                <c:pt idx="1">
                  <c:v>2020 год 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2"/>
                <c:pt idx="0">
                  <c:v>9</c:v>
                </c:pt>
                <c:pt idx="1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7E-4AF3-BEC6-8A28764D120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Трудоустроено всего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5</c:f>
              <c:strCache>
                <c:ptCount val="2"/>
                <c:pt idx="0">
                  <c:v>2019 год</c:v>
                </c:pt>
                <c:pt idx="1">
                  <c:v>2020 год 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2"/>
                <c:pt idx="0">
                  <c:v>181</c:v>
                </c:pt>
                <c:pt idx="1">
                  <c:v>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A7E-4AF3-BEC6-8A28764D12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17140472"/>
        <c:axId val="456767504"/>
        <c:axId val="311782384"/>
      </c:bar3DChart>
      <c:catAx>
        <c:axId val="317140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56767504"/>
        <c:crosses val="autoZero"/>
        <c:auto val="1"/>
        <c:lblAlgn val="ctr"/>
        <c:lblOffset val="100"/>
        <c:noMultiLvlLbl val="0"/>
      </c:catAx>
      <c:valAx>
        <c:axId val="4567675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17140472"/>
        <c:crosses val="autoZero"/>
        <c:crossBetween val="between"/>
      </c:valAx>
      <c:serAx>
        <c:axId val="311782384"/>
        <c:scaling>
          <c:orientation val="minMax"/>
        </c:scaling>
        <c:delete val="1"/>
        <c:axPos val="b"/>
        <c:majorTickMark val="none"/>
        <c:minorTickMark val="none"/>
        <c:tickLblPos val="nextTo"/>
        <c:crossAx val="456767504"/>
        <c:crosses val="autoZero"/>
      </c:ser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4">
                  <a:shade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B02-4A25-B8D8-BAA0C1E8DCA5}"/>
              </c:ext>
            </c:extLst>
          </c:dPt>
          <c:dPt>
            <c:idx val="1"/>
            <c:bubble3D val="0"/>
            <c:explosion val="26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B02-4A25-B8D8-BAA0C1E8DCA5}"/>
              </c:ext>
            </c:extLst>
          </c:dPt>
          <c:dPt>
            <c:idx val="2"/>
            <c:bubble3D val="0"/>
            <c:spPr>
              <a:solidFill>
                <a:schemeClr val="accent4">
                  <a:tint val="86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B02-4A25-B8D8-BAA0C1E8DCA5}"/>
              </c:ext>
            </c:extLst>
          </c:dPt>
          <c:dPt>
            <c:idx val="3"/>
            <c:bubble3D val="0"/>
            <c:spPr>
              <a:solidFill>
                <a:schemeClr val="accent4">
                  <a:tint val="58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B02-4A25-B8D8-BAA0C1E8DC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3"/>
                <c:pt idx="0">
                  <c:v>поступают в ПОУ г.Кировград </c:v>
                </c:pt>
                <c:pt idx="1">
                  <c:v>уезжают в другие города </c:v>
                </c:pt>
                <c:pt idx="2">
                  <c:v>продолжают обучение в школе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69</c:v>
                </c:pt>
                <c:pt idx="1">
                  <c:v>28</c:v>
                </c:pt>
                <c:pt idx="2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B02-4A25-B8D8-BAA0C1E8DCA5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FF0000"/>
            </a:solidFill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48F-486D-9A0A-FDB3FB431A37}"/>
              </c:ext>
            </c:extLst>
          </c:dPt>
          <c:dPt>
            <c:idx val="1"/>
            <c:bubble3D val="0"/>
            <c:explosion val="22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48F-486D-9A0A-FDB3FB431A37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48F-486D-9A0A-FDB3FB431A37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48F-486D-9A0A-FDB3FB431A37}"/>
              </c:ext>
            </c:extLst>
          </c:dPt>
          <c:dLbls>
            <c:dLbl>
              <c:idx val="0"/>
              <c:layout>
                <c:manualLayout>
                  <c:x val="7.5172418102018107E-2"/>
                  <c:y val="4.383966419507614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409963600896941"/>
                      <c:h val="0.2293151665588598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48F-486D-9A0A-FDB3FB431A37}"/>
                </c:ext>
              </c:extLst>
            </c:dLbl>
            <c:dLbl>
              <c:idx val="1"/>
              <c:layout>
                <c:manualLayout>
                  <c:x val="0.18259378246465918"/>
                  <c:y val="-0.2606982924233757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ru-RU" sz="14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Уезжают из города; </a:t>
                    </a:r>
                    <a:fld id="{9A44A11A-5B0D-459C-AB3D-21A400F3177B}" type="VALUE">
                      <a:rPr lang="en-US" sz="1400" baseline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pPr>
                        <a:defRPr sz="1400">
                          <a:latin typeface="Times New Roman" panose="02020603050405020304" pitchFamily="18" charset="0"/>
                          <a:cs typeface="Times New Roman" panose="02020603050405020304" pitchFamily="18" charset="0"/>
                        </a:defRPr>
                      </a:pPr>
                      <a:t>[ЗНАЧЕНИЕ]</a:t>
                    </a:fld>
                    <a:endParaRPr lang="ru-RU" sz="1400" baseline="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144673363347488"/>
                      <c:h val="9.1209160427502656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48F-486D-9A0A-FDB3FB431A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поступают в ПОУ г.Кировград </c:v>
                </c:pt>
                <c:pt idx="1">
                  <c:v>уезжают из города 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</c:v>
                </c:pt>
                <c:pt idx="1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8F-486D-9A0A-FDB3FB431A37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C6FA-428A-955D-2EFD9F081D9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C6FA-428A-955D-2EFD9F081D9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C6FA-428A-955D-2EFD9F081D9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C6FA-428A-955D-2EFD9F081D95}"/>
              </c:ext>
            </c:extLst>
          </c:dPt>
          <c:dPt>
            <c:idx val="4"/>
            <c:bubble3D val="0"/>
            <c:explosion val="18"/>
            <c:spPr>
              <a:solidFill>
                <a:schemeClr val="accent5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C6FA-428A-955D-2EFD9F081D9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C6FA-428A-955D-2EFD9F081D95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C6FA-428A-955D-2EFD9F081D95}"/>
                </c:ext>
              </c:extLst>
            </c:dLbl>
            <c:dLbl>
              <c:idx val="2"/>
              <c:layout>
                <c:manualLayout>
                  <c:x val="0.21627408993576017"/>
                  <c:y val="-1.0877499347873672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C6FA-428A-955D-2EFD9F081D9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C6FA-428A-955D-2EFD9F081D9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C6FA-428A-955D-2EFD9F081D95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Выпускнки СПО</c:v>
                </c:pt>
                <c:pt idx="1">
                  <c:v>Потребность филила ППМ АО УЭМ</c:v>
                </c:pt>
                <c:pt idx="2">
                  <c:v>Потребность города </c:v>
                </c:pt>
                <c:pt idx="3">
                  <c:v>потребность КЗТС</c:v>
                </c:pt>
                <c:pt idx="4">
                  <c:v>незакрытая потребность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5</c:v>
                </c:pt>
                <c:pt idx="1">
                  <c:v>55</c:v>
                </c:pt>
                <c:pt idx="2">
                  <c:v>338</c:v>
                </c:pt>
                <c:pt idx="3">
                  <c:v>54</c:v>
                </c:pt>
                <c:pt idx="4">
                  <c:v>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6FA-428A-955D-2EFD9F081D95}"/>
            </c:ext>
          </c:extLst>
        </c:ser>
        <c:dLbls>
          <c:dLblPos val="outEnd"/>
          <c:showLegendKey val="0"/>
          <c:showVal val="1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требность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6</c:f>
              <c:strCache>
                <c:ptCount val="5"/>
                <c:pt idx="0">
                  <c:v>Химическая технология неорганических веществ </c:v>
                </c:pt>
                <c:pt idx="1">
                  <c:v>Металлургия цветных металлов </c:v>
                </c:pt>
                <c:pt idx="2">
                  <c:v>Сварочное производство</c:v>
                </c:pt>
                <c:pt idx="3">
                  <c:v>Монтаж  и техническая эксплуатация промышленного оборудования </c:v>
                </c:pt>
                <c:pt idx="4">
                  <c:v>Техническое обслуживание и ремонт автомобильного транспорта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8</c:v>
                </c:pt>
                <c:pt idx="1">
                  <c:v>31</c:v>
                </c:pt>
                <c:pt idx="2">
                  <c:v>12</c:v>
                </c:pt>
                <c:pt idx="3">
                  <c:v>62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DA-445E-8B0A-8BDF0A2D898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Ежегодный прием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6</c:f>
              <c:strCache>
                <c:ptCount val="5"/>
                <c:pt idx="0">
                  <c:v>Химическая технология неорганических веществ </c:v>
                </c:pt>
                <c:pt idx="1">
                  <c:v>Металлургия цветных металлов </c:v>
                </c:pt>
                <c:pt idx="2">
                  <c:v>Сварочное производство</c:v>
                </c:pt>
                <c:pt idx="3">
                  <c:v>Монтаж  и техническая эксплуатация промышленного оборудования </c:v>
                </c:pt>
                <c:pt idx="4">
                  <c:v>Техническое обслуживание и ремонт автомобильного транспорта 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0</c:v>
                </c:pt>
                <c:pt idx="1">
                  <c:v>15</c:v>
                </c:pt>
                <c:pt idx="2">
                  <c:v>25</c:v>
                </c:pt>
                <c:pt idx="3">
                  <c:v>65</c:v>
                </c:pt>
                <c:pt idx="4">
                  <c:v>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9DA-445E-8B0A-8BDF0A2D898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тклонения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cat>
            <c:strRef>
              <c:f>Лист1!$A$2:$A$6</c:f>
              <c:strCache>
                <c:ptCount val="5"/>
                <c:pt idx="0">
                  <c:v>Химическая технология неорганических веществ </c:v>
                </c:pt>
                <c:pt idx="1">
                  <c:v>Металлургия цветных металлов </c:v>
                </c:pt>
                <c:pt idx="2">
                  <c:v>Сварочное производство</c:v>
                </c:pt>
                <c:pt idx="3">
                  <c:v>Монтаж  и техническая эксплуатация промышленного оборудования </c:v>
                </c:pt>
                <c:pt idx="4">
                  <c:v>Техническое обслуживание и ремонт автомобильного транспорта 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-18</c:v>
                </c:pt>
                <c:pt idx="1">
                  <c:v>-16</c:v>
                </c:pt>
                <c:pt idx="2">
                  <c:v>13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9DA-445E-8B0A-8BDF0A2D89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322026232"/>
        <c:axId val="322020656"/>
        <c:axId val="0"/>
      </c:bar3DChart>
      <c:catAx>
        <c:axId val="322026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2020656"/>
        <c:crosses val="autoZero"/>
        <c:auto val="1"/>
        <c:lblAlgn val="ctr"/>
        <c:lblOffset val="100"/>
        <c:noMultiLvlLbl val="0"/>
      </c:catAx>
      <c:valAx>
        <c:axId val="322020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2026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89824586160714"/>
          <c:y val="0.19073538520848296"/>
          <c:w val="0.84110175413839283"/>
          <c:h val="0.809264614791517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C8-7045-89FC-DE876ABE4F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Металлургия цветных мтеаллов</c:v>
                </c:pt>
                <c:pt idx="1">
                  <c:v>Аналитический контроль химических соединений</c:v>
                </c:pt>
                <c:pt idx="2">
                  <c:v>Обогащение полезных ископаемых</c:v>
                </c:pt>
                <c:pt idx="3">
                  <c:v>Технология машиностроения</c:v>
                </c:pt>
                <c:pt idx="4">
                  <c:v>Техническая эксплуатация и обслуживание электрического и электромеханического оборудования</c:v>
                </c:pt>
                <c:pt idx="5">
                  <c:v>Сварочное производство</c:v>
                </c:pt>
                <c:pt idx="6">
                  <c:v>Техническое обслуживание и ремонт а/м</c:v>
                </c:pt>
              </c:strCache>
            </c:strRef>
          </c:cat>
          <c:val>
            <c:numRef>
              <c:f>Лист1!$B$2:$B$8</c:f>
              <c:numCache>
                <c:formatCode>0.0</c:formatCode>
                <c:ptCount val="7"/>
                <c:pt idx="0">
                  <c:v>45</c:v>
                </c:pt>
                <c:pt idx="1">
                  <c:v>7</c:v>
                </c:pt>
                <c:pt idx="2">
                  <c:v>9</c:v>
                </c:pt>
                <c:pt idx="3">
                  <c:v>27</c:v>
                </c:pt>
                <c:pt idx="4">
                  <c:v>18</c:v>
                </c:pt>
                <c:pt idx="5">
                  <c:v>18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C8-7045-89FC-DE876ABE4FA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Металлургия цветных мтеаллов</c:v>
                </c:pt>
                <c:pt idx="1">
                  <c:v>Аналитический контроль химических соединений</c:v>
                </c:pt>
                <c:pt idx="2">
                  <c:v>Обогащение полезных ископаемых</c:v>
                </c:pt>
                <c:pt idx="3">
                  <c:v>Технология машиностроения</c:v>
                </c:pt>
                <c:pt idx="4">
                  <c:v>Техническая эксплуатация и обслуживание электрического и электромеханического оборудования</c:v>
                </c:pt>
                <c:pt idx="5">
                  <c:v>Сварочное производство</c:v>
                </c:pt>
                <c:pt idx="6">
                  <c:v>Техническое обслуживание и ремонт а/м</c:v>
                </c:pt>
              </c:strCache>
            </c:strRef>
          </c:cat>
          <c:val>
            <c:numRef>
              <c:f>Лист1!$C$2:$C$8</c:f>
              <c:numCache>
                <c:formatCode>0.0</c:formatCode>
                <c:ptCount val="7"/>
                <c:pt idx="0">
                  <c:v>43</c:v>
                </c:pt>
                <c:pt idx="1">
                  <c:v>8</c:v>
                </c:pt>
                <c:pt idx="2">
                  <c:v>11</c:v>
                </c:pt>
                <c:pt idx="3">
                  <c:v>25</c:v>
                </c:pt>
                <c:pt idx="4">
                  <c:v>15</c:v>
                </c:pt>
                <c:pt idx="5">
                  <c:v>16</c:v>
                </c:pt>
                <c:pt idx="6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C8-7045-89FC-DE876ABE4FA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Металлургия цветных мтеаллов</c:v>
                </c:pt>
                <c:pt idx="1">
                  <c:v>Аналитический контроль химических соединений</c:v>
                </c:pt>
                <c:pt idx="2">
                  <c:v>Обогащение полезных ископаемых</c:v>
                </c:pt>
                <c:pt idx="3">
                  <c:v>Технология машиностроения</c:v>
                </c:pt>
                <c:pt idx="4">
                  <c:v>Техническая эксплуатация и обслуживание электрического и электромеханического оборудования</c:v>
                </c:pt>
                <c:pt idx="5">
                  <c:v>Сварочное производство</c:v>
                </c:pt>
                <c:pt idx="6">
                  <c:v>Техническое обслуживание и ремонт а/м</c:v>
                </c:pt>
              </c:strCache>
            </c:strRef>
          </c:cat>
          <c:val>
            <c:numRef>
              <c:f>Лист1!$D$2:$D$8</c:f>
              <c:numCache>
                <c:formatCode>0.0</c:formatCode>
                <c:ptCount val="7"/>
                <c:pt idx="0">
                  <c:v>48</c:v>
                </c:pt>
                <c:pt idx="1">
                  <c:v>6</c:v>
                </c:pt>
                <c:pt idx="2">
                  <c:v>10</c:v>
                </c:pt>
                <c:pt idx="3">
                  <c:v>28</c:v>
                </c:pt>
                <c:pt idx="4">
                  <c:v>19</c:v>
                </c:pt>
                <c:pt idx="5">
                  <c:v>17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0C8-7045-89FC-DE876ABE4FA5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Металлургия цветных мтеаллов</c:v>
                </c:pt>
                <c:pt idx="1">
                  <c:v>Аналитический контроль химических соединений</c:v>
                </c:pt>
                <c:pt idx="2">
                  <c:v>Обогащение полезных ископаемых</c:v>
                </c:pt>
                <c:pt idx="3">
                  <c:v>Технология машиностроения</c:v>
                </c:pt>
                <c:pt idx="4">
                  <c:v>Техническая эксплуатация и обслуживание электрического и электромеханического оборудования</c:v>
                </c:pt>
                <c:pt idx="5">
                  <c:v>Сварочное производство</c:v>
                </c:pt>
                <c:pt idx="6">
                  <c:v>Техническое обслуживание и ремонт а/м</c:v>
                </c:pt>
              </c:strCache>
            </c:strRef>
          </c:cat>
          <c:val>
            <c:numRef>
              <c:f>Лист1!$E$2:$E$8</c:f>
              <c:numCache>
                <c:formatCode>0.0</c:formatCode>
                <c:ptCount val="7"/>
                <c:pt idx="0">
                  <c:v>53</c:v>
                </c:pt>
                <c:pt idx="1">
                  <c:v>9</c:v>
                </c:pt>
                <c:pt idx="2">
                  <c:v>12</c:v>
                </c:pt>
                <c:pt idx="3">
                  <c:v>30</c:v>
                </c:pt>
                <c:pt idx="4">
                  <c:v>20</c:v>
                </c:pt>
                <c:pt idx="5">
                  <c:v>19</c:v>
                </c:pt>
                <c:pt idx="6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2C-455F-BD59-3750323CA4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651057872"/>
        <c:axId val="651052624"/>
      </c:barChart>
      <c:catAx>
        <c:axId val="651057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ru-RU" sz="800" b="0" i="0" u="none" strike="noStrike" kern="1200" baseline="0">
                <a:solidFill>
                  <a:schemeClr val="bg2"/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  <c:crossAx val="651052624"/>
        <c:crosses val="autoZero"/>
        <c:auto val="1"/>
        <c:lblAlgn val="ctr"/>
        <c:lblOffset val="100"/>
        <c:noMultiLvlLbl val="0"/>
      </c:catAx>
      <c:valAx>
        <c:axId val="65105262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651057872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800">
          <a:latin typeface="+mj-lt"/>
        </a:defRPr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еталлургическое производство 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5</c:v>
                </c:pt>
                <c:pt idx="1">
                  <c:v>6</c:v>
                </c:pt>
                <c:pt idx="2">
                  <c:v>14</c:v>
                </c:pt>
                <c:pt idx="3">
                  <c:v>20</c:v>
                </c:pt>
                <c:pt idx="4">
                  <c:v>25</c:v>
                </c:pt>
                <c:pt idx="5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5A-6B4C-9376-EB7031ED0CEE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монтный персонал (слесари-ремотники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7</c:v>
                </c:pt>
                <c:pt idx="1">
                  <c:v>14</c:v>
                </c:pt>
                <c:pt idx="2">
                  <c:v>25</c:v>
                </c:pt>
                <c:pt idx="3">
                  <c:v>30</c:v>
                </c:pt>
                <c:pt idx="4">
                  <c:v>45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65A-6B4C-9376-EB7031ED0CEE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емонтный персонал (электромонтеры)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7</c:v>
                </c:pt>
                <c:pt idx="1">
                  <c:v>18</c:v>
                </c:pt>
                <c:pt idx="2">
                  <c:v>28</c:v>
                </c:pt>
                <c:pt idx="3">
                  <c:v>35</c:v>
                </c:pt>
                <c:pt idx="4">
                  <c:v>47</c:v>
                </c:pt>
                <c:pt idx="5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65A-6B4C-9376-EB7031ED0C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100"/>
        <c:axId val="639080559"/>
        <c:axId val="624056287"/>
      </c:barChart>
      <c:lineChart>
        <c:grouping val="standard"/>
        <c:varyColors val="0"/>
        <c:ser>
          <c:idx val="3"/>
          <c:order val="3"/>
          <c:tx>
            <c:strRef>
              <c:f>Лист1!$E$1</c:f>
              <c:strCache>
                <c:ptCount val="1"/>
                <c:pt idx="0">
                  <c:v>Ремонтный персонал (сврщики)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25400">
                <a:noFill/>
              </a:ln>
              <a:effectLst/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6</c:v>
                </c:pt>
                <c:pt idx="1">
                  <c:v>16</c:v>
                </c:pt>
                <c:pt idx="2">
                  <c:v>24</c:v>
                </c:pt>
                <c:pt idx="3">
                  <c:v>32</c:v>
                </c:pt>
                <c:pt idx="4">
                  <c:v>38</c:v>
                </c:pt>
                <c:pt idx="5">
                  <c:v>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E65A-6B4C-9376-EB7031ED0CEE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Вспомогательный персонал Машинисты эксковатора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10</c:v>
                </c:pt>
                <c:pt idx="1">
                  <c:v>12</c:v>
                </c:pt>
                <c:pt idx="2">
                  <c:v>21</c:v>
                </c:pt>
                <c:pt idx="3">
                  <c:v>25</c:v>
                </c:pt>
                <c:pt idx="4">
                  <c:v>30</c:v>
                </c:pt>
                <c:pt idx="5">
                  <c:v>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893-4FEF-99FF-5A4F02201B4F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Лаборанты хим, пробирного, спектрального анализа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7</c:v>
                </c:pt>
                <c:pt idx="1">
                  <c:v>17</c:v>
                </c:pt>
                <c:pt idx="2">
                  <c:v>26</c:v>
                </c:pt>
                <c:pt idx="3">
                  <c:v>31</c:v>
                </c:pt>
                <c:pt idx="4">
                  <c:v>35</c:v>
                </c:pt>
                <c:pt idx="5">
                  <c:v>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893-4FEF-99FF-5A4F02201B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9080559"/>
        <c:axId val="624056287"/>
      </c:lineChart>
      <c:catAx>
        <c:axId val="6390805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24056287"/>
        <c:crosses val="autoZero"/>
        <c:auto val="1"/>
        <c:lblAlgn val="ctr"/>
        <c:lblOffset val="100"/>
        <c:noMultiLvlLbl val="0"/>
      </c:catAx>
      <c:valAx>
        <c:axId val="62405628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90805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3"/>
        <c:delete val="1"/>
      </c:legendEntry>
      <c:layout>
        <c:manualLayout>
          <c:xMode val="edge"/>
          <c:yMode val="edge"/>
          <c:x val="3.6605465999257548E-2"/>
          <c:y val="0.15375894038808843"/>
          <c:w val="0.47327795784013921"/>
          <c:h val="0.232626013360536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chemeClr val="accent1"/>
                </a:solidFill>
              </a:rPr>
              <a:t>Анализ уволенных работников ха 2021 год </a:t>
            </a:r>
          </a:p>
        </c:rich>
      </c:tx>
      <c:layout>
        <c:manualLayout>
          <c:xMode val="edge"/>
          <c:yMode val="edge"/>
          <c:x val="1.5436501684612346E-2"/>
          <c:y val="3.775484146385330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8.7645736393579754E-2"/>
          <c:y val="0.26579408390552733"/>
          <c:w val="0.84064411564803676"/>
          <c:h val="0.64270185536803981"/>
        </c:manualLayout>
      </c:layout>
      <c:ofPieChart>
        <c:ofPieType val="pie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 человек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21E-4A43-927F-407E185D840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430-934C-AD65-E3AD4AB77470}"/>
              </c:ext>
            </c:extLst>
          </c:dPt>
          <c:dPt>
            <c:idx val="2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430-934C-AD65-E3AD4AB77470}"/>
              </c:ext>
            </c:extLst>
          </c:dPt>
          <c:dPt>
            <c:idx val="3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430-934C-AD65-E3AD4AB77470}"/>
              </c:ext>
            </c:extLst>
          </c:dPt>
          <c:dPt>
            <c:idx val="4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430-934C-AD65-E3AD4AB7747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C9A-4A75-A2FA-06362327A1A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всего</c:v>
                </c:pt>
                <c:pt idx="1">
                  <c:v>старше 35 лет </c:v>
                </c:pt>
                <c:pt idx="2">
                  <c:v>ДО 35 лет </c:v>
                </c:pt>
                <c:pt idx="3">
                  <c:v>Стаж менее 6 месяцев </c:v>
                </c:pt>
                <c:pt idx="4">
                  <c:v>Стаж более  6 меяцев 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9</c:v>
                </c:pt>
                <c:pt idx="1">
                  <c:v>143</c:v>
                </c:pt>
                <c:pt idx="3">
                  <c:v>23</c:v>
                </c:pt>
                <c:pt idx="4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1E-4A43-927F-407E185D840B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gapWidth val="100"/>
        <c:secondPieSize val="75"/>
        <c:serLines>
          <c:spPr>
            <a:ln w="9525" cap="flat" cmpd="sng" algn="ctr">
              <a:solidFill>
                <a:schemeClr val="bg2">
                  <a:lumMod val="60000"/>
                  <a:lumOff val="40000"/>
                </a:schemeClr>
              </a:solidFill>
              <a:round/>
            </a:ln>
            <a:effectLst/>
          </c:spPr>
        </c:serLines>
      </c:of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colors4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3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50000"/>
            <a:lumOff val="50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915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0FBA-3B4D-594C-9C95-852DB6F34EF1}" type="datetimeFigureOut">
              <a:rPr lang="ru-RU" smtClean="0"/>
              <a:t>30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1C0842-6D7A-3748-8A63-0F77479CA0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370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2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3.bin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2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3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54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6.bin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7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6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5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6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6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22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6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2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6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7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7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7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3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7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7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3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7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7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7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3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7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3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8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3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81.bin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2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3.bin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84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3.pn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8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8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87.bin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1619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val="1838586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1063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486736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3554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376385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54606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443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01261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602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107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19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08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77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129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2336896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137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4532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5962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9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931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3443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8BC89-BBDC-4215-A269-A3D08BC32F6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54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004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0761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3691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9492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1180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14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39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bg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351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75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1936598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573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6686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5728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650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34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2948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270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0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24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227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41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273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959191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92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329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114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8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09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0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602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6945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447DCD6-CA8C-4A92-81F4-FB7F6395F6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57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264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52DB170-0BD8-460C-95C4-93631BA860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669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1365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5E74483-36EB-4F4A-8538-B908593BA7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284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315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75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4373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99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570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305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7705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1658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140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7041404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6864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060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7470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val="81580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29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343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870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6808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134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37883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-слайд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00ABCF-18D8-254B-AC4C-99D8CDF105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9" name="Заголовок 16">
            <a:extLst>
              <a:ext uri="{FF2B5EF4-FFF2-40B4-BE49-F238E27FC236}">
                <a16:creationId xmlns:a16="http://schemas.microsoft.com/office/drawing/2014/main" id="{3EEE93BC-CD08-2648-BE48-3A94C5FB2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CAE0602-262B-D54C-94FA-626681E0F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2EEA68E-259E-8848-A125-3FDD14CF9C9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B708B7C-9105-8543-AF84-878A41AF28A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BC575B7-F548-3C4D-AFF8-EA16D7A25BE1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3156005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стижение цел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337782-491F-4146-986F-1D2393C040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2" name="Текст 2">
            <a:extLst>
              <a:ext uri="{FF2B5EF4-FFF2-40B4-BE49-F238E27FC236}">
                <a16:creationId xmlns:a16="http://schemas.microsoft.com/office/drawing/2014/main" id="{C5FFB94A-244D-414D-92D8-758A83EE48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D22AF4B1-6379-B04D-B1EF-23A6DB84BA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CD96B6-2291-484B-8473-DF225020BAF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9630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56522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6">
          <p15:clr>
            <a:srgbClr val="FBAE40"/>
          </p15:clr>
        </p15:guide>
        <p15:guide id="2" orient="horz" pos="845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C0AA46F0-EFAB-2347-98F5-5E55DE446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val="22058260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6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2E150D18-2735-3F4F-B656-268860013B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8BC89-BBDC-4215-A269-A3D08BC32F6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619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047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791814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-слайд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00ABCF-18D8-254B-AC4C-99D8CDF105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9" name="Заголовок 16">
            <a:extLst>
              <a:ext uri="{FF2B5EF4-FFF2-40B4-BE49-F238E27FC236}">
                <a16:creationId xmlns:a16="http://schemas.microsoft.com/office/drawing/2014/main" id="{3EEE93BC-CD08-2648-BE48-3A94C5FB2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CAE0602-262B-D54C-94FA-626681E0F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2EEA68E-259E-8848-A125-3FDD14CF9C9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B708B7C-9105-8543-AF84-878A41AF28A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BC575B7-F548-3C4D-AFF8-EA16D7A25BE1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67284618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8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331CB090-1FE3-384B-9D86-A7F938FB7D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9733727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8109D373-A5FC-3145-A72E-19E6093F3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0658489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93B0A69-B7D5-5A48-ADC3-AB1A9D78FC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41731033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B10BD2F5-DFF1-F341-88B5-9F4DB6B58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546153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8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2FEFCD2D-F76E-834A-A99F-E36DD0B63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5529011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D53ADF0-C1DC-8E47-A4C4-7F636F65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7909412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61F4C62-7735-054B-B3F9-972F97076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9301462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00137109-3779-E74D-A50A-BAD2E6958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6752585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69CBA11B-339F-4343-A51B-93F6F783B1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5526654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258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0536751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2476808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0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728AC313-AE0F-7240-97AF-55E3100A0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758009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27086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3418977-67EB-1441-B7C6-146BA8BA78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7733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E779BB7-786D-0B4A-8EAD-208A20C6C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58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C1CC194-74B6-7545-8CD8-7FDA8524B7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42662158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762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0086FB1A-3CCC-2046-8432-813BAFB595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4579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1C3D4F6-7726-1441-A09D-CEAB99ACC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53921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AD6CF53-7820-784C-A38B-3C5230C8D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929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999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83210313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C9CA3A5-9C66-B444-A2F9-618BFE8D5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05990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10FA3018-09DA-9046-A283-A744136617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bg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7160502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4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9864EF1-02FA-C447-B4C4-82B6933161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39533656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6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276546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7EE458F2-981F-5B4D-AD84-FF20F4593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752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32936E7-298E-344F-86EF-0BEB75473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17923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85B60A3-FE48-2E49-B5BC-9634550B6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7176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6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B496EC26-6A0F-704E-807F-0ADDC92ED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5269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A6AF37E-99FD-FC46-BDAD-F5FBCA00C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958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1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D68EE43A-8859-594C-A127-7DE1B66556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757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178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0204000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6F22A351-A906-FD4A-AF17-DF96C10790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02958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3AAE98BF-D215-5E4C-A38A-B49101B42C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447DCD6-CA8C-4A92-81F4-FB7F6395F6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68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75A83CC-9EE2-4449-BC43-8F9F3CB865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52DB170-0BD8-460C-95C4-93631BA860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207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F79BFCF-0513-BB43-8C0E-FD98BCB588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5E74483-36EB-4F4A-8538-B908593BA7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38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A553710-8EB1-D749-A488-B00354124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6288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CA8D65A-CD26-894A-B070-5C035F2A0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1775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10661A6-6AFF-8544-81FE-15464A7EA4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09287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CABB8F2-733D-7F43-AC63-395A8A161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37641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рганизационная структур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lIns="0" tIns="0" rIns="0" bIns="0" anchor="t">
            <a:norm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Рисунок 22">
            <a:extLst>
              <a:ext uri="{FF2B5EF4-FFF2-40B4-BE49-F238E27FC236}">
                <a16:creationId xmlns:a16="http://schemas.microsoft.com/office/drawing/2014/main" id="{20E9805F-2999-1542-BF9D-617EE1DF5E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784689" y="1364089"/>
            <a:ext cx="1041366" cy="1044032"/>
          </a:xfrm>
          <a:custGeom>
            <a:avLst/>
            <a:gdLst>
              <a:gd name="connsiteX0" fmla="*/ 522016 w 1041366"/>
              <a:gd name="connsiteY0" fmla="*/ 0 h 1044032"/>
              <a:gd name="connsiteX1" fmla="*/ 1033427 w 1041366"/>
              <a:gd name="connsiteY1" fmla="*/ 416812 h 1044032"/>
              <a:gd name="connsiteX2" fmla="*/ 1041366 w 1041366"/>
              <a:gd name="connsiteY2" fmla="*/ 495570 h 1044032"/>
              <a:gd name="connsiteX3" fmla="*/ 1041366 w 1041366"/>
              <a:gd name="connsiteY3" fmla="*/ 548462 h 1044032"/>
              <a:gd name="connsiteX4" fmla="*/ 1033427 w 1041366"/>
              <a:gd name="connsiteY4" fmla="*/ 627220 h 1044032"/>
              <a:gd name="connsiteX5" fmla="*/ 522016 w 1041366"/>
              <a:gd name="connsiteY5" fmla="*/ 1044032 h 1044032"/>
              <a:gd name="connsiteX6" fmla="*/ 0 w 1041366"/>
              <a:gd name="connsiteY6" fmla="*/ 522016 h 1044032"/>
              <a:gd name="connsiteX7" fmla="*/ 522016 w 1041366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1366" h="1044032">
                <a:moveTo>
                  <a:pt x="522016" y="0"/>
                </a:moveTo>
                <a:cubicBezTo>
                  <a:pt x="774280" y="0"/>
                  <a:pt x="984751" y="178938"/>
                  <a:pt x="1033427" y="416812"/>
                </a:cubicBezTo>
                <a:lnTo>
                  <a:pt x="1041366" y="495570"/>
                </a:lnTo>
                <a:lnTo>
                  <a:pt x="1041366" y="548462"/>
                </a:lnTo>
                <a:lnTo>
                  <a:pt x="1033427" y="627220"/>
                </a:lnTo>
                <a:cubicBezTo>
                  <a:pt x="984751" y="865094"/>
                  <a:pt x="774280" y="1044032"/>
                  <a:pt x="522016" y="1044032"/>
                </a:cubicBezTo>
                <a:cubicBezTo>
                  <a:pt x="233715" y="1044032"/>
                  <a:pt x="0" y="810317"/>
                  <a:pt x="0" y="522016"/>
                </a:cubicBezTo>
                <a:cubicBezTo>
                  <a:pt x="0" y="233715"/>
                  <a:pt x="233715" y="0"/>
                  <a:pt x="52201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D20CEDD1-1803-5743-8602-40013F9175C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01776" y="1364089"/>
            <a:ext cx="1042587" cy="1044032"/>
          </a:xfrm>
          <a:custGeom>
            <a:avLst/>
            <a:gdLst>
              <a:gd name="connsiteX0" fmla="*/ 520571 w 1042587"/>
              <a:gd name="connsiteY0" fmla="*/ 0 h 1044032"/>
              <a:gd name="connsiteX1" fmla="*/ 1042587 w 1042587"/>
              <a:gd name="connsiteY1" fmla="*/ 522016 h 1044032"/>
              <a:gd name="connsiteX2" fmla="*/ 520571 w 1042587"/>
              <a:gd name="connsiteY2" fmla="*/ 1044032 h 1044032"/>
              <a:gd name="connsiteX3" fmla="*/ 9161 w 1042587"/>
              <a:gd name="connsiteY3" fmla="*/ 627220 h 1044032"/>
              <a:gd name="connsiteX4" fmla="*/ 0 w 1042587"/>
              <a:gd name="connsiteY4" fmla="*/ 536350 h 1044032"/>
              <a:gd name="connsiteX5" fmla="*/ 0 w 1042587"/>
              <a:gd name="connsiteY5" fmla="*/ 507682 h 1044032"/>
              <a:gd name="connsiteX6" fmla="*/ 9161 w 1042587"/>
              <a:gd name="connsiteY6" fmla="*/ 416812 h 1044032"/>
              <a:gd name="connsiteX7" fmla="*/ 520571 w 1042587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2587" h="1044032">
                <a:moveTo>
                  <a:pt x="520571" y="0"/>
                </a:moveTo>
                <a:cubicBezTo>
                  <a:pt x="808872" y="0"/>
                  <a:pt x="1042587" y="233715"/>
                  <a:pt x="1042587" y="522016"/>
                </a:cubicBezTo>
                <a:cubicBezTo>
                  <a:pt x="1042587" y="810317"/>
                  <a:pt x="808872" y="1044032"/>
                  <a:pt x="520571" y="1044032"/>
                </a:cubicBezTo>
                <a:cubicBezTo>
                  <a:pt x="268308" y="1044032"/>
                  <a:pt x="57837" y="865094"/>
                  <a:pt x="9161" y="627220"/>
                </a:cubicBezTo>
                <a:lnTo>
                  <a:pt x="0" y="536350"/>
                </a:lnTo>
                <a:lnTo>
                  <a:pt x="0" y="507682"/>
                </a:lnTo>
                <a:lnTo>
                  <a:pt x="9161" y="416812"/>
                </a:lnTo>
                <a:cubicBezTo>
                  <a:pt x="57837" y="178938"/>
                  <a:pt x="268308" y="0"/>
                  <a:pt x="520571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03A3C658-F78B-934F-B8FA-C006A7A8B23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8544" y="1364089"/>
            <a:ext cx="1043594" cy="1044032"/>
          </a:xfrm>
          <a:custGeom>
            <a:avLst/>
            <a:gdLst>
              <a:gd name="connsiteX0" fmla="*/ 522016 w 1043594"/>
              <a:gd name="connsiteY0" fmla="*/ 0 h 1044032"/>
              <a:gd name="connsiteX1" fmla="*/ 1033427 w 1043594"/>
              <a:gd name="connsiteY1" fmla="*/ 416812 h 1044032"/>
              <a:gd name="connsiteX2" fmla="*/ 1043594 w 1043594"/>
              <a:gd name="connsiteY2" fmla="*/ 517671 h 1044032"/>
              <a:gd name="connsiteX3" fmla="*/ 1043594 w 1043594"/>
              <a:gd name="connsiteY3" fmla="*/ 526361 h 1044032"/>
              <a:gd name="connsiteX4" fmla="*/ 1033427 w 1043594"/>
              <a:gd name="connsiteY4" fmla="*/ 627220 h 1044032"/>
              <a:gd name="connsiteX5" fmla="*/ 522016 w 1043594"/>
              <a:gd name="connsiteY5" fmla="*/ 1044032 h 1044032"/>
              <a:gd name="connsiteX6" fmla="*/ 0 w 1043594"/>
              <a:gd name="connsiteY6" fmla="*/ 522016 h 1044032"/>
              <a:gd name="connsiteX7" fmla="*/ 522016 w 1043594"/>
              <a:gd name="connsiteY7" fmla="*/ 0 h 1044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43594" h="1044032">
                <a:moveTo>
                  <a:pt x="522016" y="0"/>
                </a:moveTo>
                <a:cubicBezTo>
                  <a:pt x="774279" y="0"/>
                  <a:pt x="984750" y="178938"/>
                  <a:pt x="1033427" y="416812"/>
                </a:cubicBezTo>
                <a:lnTo>
                  <a:pt x="1043594" y="517671"/>
                </a:lnTo>
                <a:lnTo>
                  <a:pt x="1043594" y="526361"/>
                </a:lnTo>
                <a:lnTo>
                  <a:pt x="1033427" y="627220"/>
                </a:lnTo>
                <a:cubicBezTo>
                  <a:pt x="984750" y="865094"/>
                  <a:pt x="774279" y="1044032"/>
                  <a:pt x="522016" y="1044032"/>
                </a:cubicBezTo>
                <a:cubicBezTo>
                  <a:pt x="233715" y="1044032"/>
                  <a:pt x="0" y="810317"/>
                  <a:pt x="0" y="522016"/>
                </a:cubicBezTo>
                <a:cubicBezTo>
                  <a:pt x="0" y="233715"/>
                  <a:pt x="233715" y="0"/>
                  <a:pt x="52201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30">
            <a:extLst>
              <a:ext uri="{FF2B5EF4-FFF2-40B4-BE49-F238E27FC236}">
                <a16:creationId xmlns:a16="http://schemas.microsoft.com/office/drawing/2014/main" id="{DE7AF6CA-440E-754D-A46A-00DB627F409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48631" y="2805695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31">
            <a:extLst>
              <a:ext uri="{FF2B5EF4-FFF2-40B4-BE49-F238E27FC236}">
                <a16:creationId xmlns:a16="http://schemas.microsoft.com/office/drawing/2014/main" id="{1640AA61-74B0-C54A-937C-57C6691CE3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8737" y="4067745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32">
            <a:extLst>
              <a:ext uri="{FF2B5EF4-FFF2-40B4-BE49-F238E27FC236}">
                <a16:creationId xmlns:a16="http://schemas.microsoft.com/office/drawing/2014/main" id="{0BA74D49-FCC2-DB4C-907F-A2EA5CBDF77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348737" y="5320547"/>
            <a:ext cx="864000" cy="864000"/>
          </a:xfrm>
          <a:custGeom>
            <a:avLst/>
            <a:gdLst>
              <a:gd name="connsiteX0" fmla="*/ 432000 w 864000"/>
              <a:gd name="connsiteY0" fmla="*/ 0 h 864000"/>
              <a:gd name="connsiteX1" fmla="*/ 864000 w 864000"/>
              <a:gd name="connsiteY1" fmla="*/ 432000 h 864000"/>
              <a:gd name="connsiteX2" fmla="*/ 432000 w 864000"/>
              <a:gd name="connsiteY2" fmla="*/ 864000 h 864000"/>
              <a:gd name="connsiteX3" fmla="*/ 0 w 864000"/>
              <a:gd name="connsiteY3" fmla="*/ 432000 h 864000"/>
              <a:gd name="connsiteX4" fmla="*/ 432000 w 864000"/>
              <a:gd name="connsiteY4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000" h="864000">
                <a:moveTo>
                  <a:pt x="432000" y="0"/>
                </a:moveTo>
                <a:cubicBezTo>
                  <a:pt x="670587" y="0"/>
                  <a:pt x="864000" y="193413"/>
                  <a:pt x="864000" y="432000"/>
                </a:cubicBezTo>
                <a:cubicBezTo>
                  <a:pt x="864000" y="670587"/>
                  <a:pt x="670587" y="864000"/>
                  <a:pt x="432000" y="864000"/>
                </a:cubicBezTo>
                <a:cubicBezTo>
                  <a:pt x="193413" y="864000"/>
                  <a:pt x="0" y="670587"/>
                  <a:pt x="0" y="432000"/>
                </a:cubicBezTo>
                <a:cubicBezTo>
                  <a:pt x="0" y="193413"/>
                  <a:pt x="193413" y="0"/>
                  <a:pt x="432000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4" name="Рисунок 33">
            <a:extLst>
              <a:ext uri="{FF2B5EF4-FFF2-40B4-BE49-F238E27FC236}">
                <a16:creationId xmlns:a16="http://schemas.microsoft.com/office/drawing/2014/main" id="{71660805-58EB-2C40-8273-BDB668E9E46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903336" y="2807508"/>
            <a:ext cx="861873" cy="864000"/>
          </a:xfrm>
          <a:custGeom>
            <a:avLst/>
            <a:gdLst>
              <a:gd name="connsiteX0" fmla="*/ 429873 w 861873"/>
              <a:gd name="connsiteY0" fmla="*/ 0 h 864000"/>
              <a:gd name="connsiteX1" fmla="*/ 861873 w 861873"/>
              <a:gd name="connsiteY1" fmla="*/ 432000 h 864000"/>
              <a:gd name="connsiteX2" fmla="*/ 429873 w 861873"/>
              <a:gd name="connsiteY2" fmla="*/ 864000 h 864000"/>
              <a:gd name="connsiteX3" fmla="*/ 6650 w 861873"/>
              <a:gd name="connsiteY3" fmla="*/ 519063 h 864000"/>
              <a:gd name="connsiteX4" fmla="*/ 0 w 861873"/>
              <a:gd name="connsiteY4" fmla="*/ 453100 h 864000"/>
              <a:gd name="connsiteX5" fmla="*/ 0 w 861873"/>
              <a:gd name="connsiteY5" fmla="*/ 410901 h 864000"/>
              <a:gd name="connsiteX6" fmla="*/ 6650 w 861873"/>
              <a:gd name="connsiteY6" fmla="*/ 344937 h 864000"/>
              <a:gd name="connsiteX7" fmla="*/ 429873 w 861873"/>
              <a:gd name="connsiteY7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873" h="864000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70587"/>
                  <a:pt x="668460" y="864000"/>
                  <a:pt x="429873" y="864000"/>
                </a:cubicBezTo>
                <a:cubicBezTo>
                  <a:pt x="221109" y="864000"/>
                  <a:pt x="46932" y="715918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5" name="Рисунок 34">
            <a:extLst>
              <a:ext uri="{FF2B5EF4-FFF2-40B4-BE49-F238E27FC236}">
                <a16:creationId xmlns:a16="http://schemas.microsoft.com/office/drawing/2014/main" id="{1A0F98E5-FB9C-1343-A3E9-0250D47CAC6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903336" y="4067745"/>
            <a:ext cx="861873" cy="864000"/>
          </a:xfrm>
          <a:custGeom>
            <a:avLst/>
            <a:gdLst>
              <a:gd name="connsiteX0" fmla="*/ 429873 w 861873"/>
              <a:gd name="connsiteY0" fmla="*/ 0 h 864000"/>
              <a:gd name="connsiteX1" fmla="*/ 861873 w 861873"/>
              <a:gd name="connsiteY1" fmla="*/ 432000 h 864000"/>
              <a:gd name="connsiteX2" fmla="*/ 429873 w 861873"/>
              <a:gd name="connsiteY2" fmla="*/ 864000 h 864000"/>
              <a:gd name="connsiteX3" fmla="*/ 6650 w 861873"/>
              <a:gd name="connsiteY3" fmla="*/ 519063 h 864000"/>
              <a:gd name="connsiteX4" fmla="*/ 0 w 861873"/>
              <a:gd name="connsiteY4" fmla="*/ 453100 h 864000"/>
              <a:gd name="connsiteX5" fmla="*/ 0 w 861873"/>
              <a:gd name="connsiteY5" fmla="*/ 410901 h 864000"/>
              <a:gd name="connsiteX6" fmla="*/ 6650 w 861873"/>
              <a:gd name="connsiteY6" fmla="*/ 344937 h 864000"/>
              <a:gd name="connsiteX7" fmla="*/ 429873 w 861873"/>
              <a:gd name="connsiteY7" fmla="*/ 0 h 8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61873" h="864000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70587"/>
                  <a:pt x="668460" y="864000"/>
                  <a:pt x="429873" y="864000"/>
                </a:cubicBezTo>
                <a:cubicBezTo>
                  <a:pt x="221109" y="864000"/>
                  <a:pt x="46932" y="715918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6" name="Рисунок 35">
            <a:extLst>
              <a:ext uri="{FF2B5EF4-FFF2-40B4-BE49-F238E27FC236}">
                <a16:creationId xmlns:a16="http://schemas.microsoft.com/office/drawing/2014/main" id="{D087A755-A929-9343-85FB-E9EB53771B4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903336" y="5327981"/>
            <a:ext cx="861873" cy="863514"/>
          </a:xfrm>
          <a:custGeom>
            <a:avLst/>
            <a:gdLst>
              <a:gd name="connsiteX0" fmla="*/ 429873 w 861873"/>
              <a:gd name="connsiteY0" fmla="*/ 0 h 863514"/>
              <a:gd name="connsiteX1" fmla="*/ 861873 w 861873"/>
              <a:gd name="connsiteY1" fmla="*/ 432000 h 863514"/>
              <a:gd name="connsiteX2" fmla="*/ 516936 w 861873"/>
              <a:gd name="connsiteY2" fmla="*/ 855224 h 863514"/>
              <a:gd name="connsiteX3" fmla="*/ 434694 w 861873"/>
              <a:gd name="connsiteY3" fmla="*/ 863514 h 863514"/>
              <a:gd name="connsiteX4" fmla="*/ 425052 w 861873"/>
              <a:gd name="connsiteY4" fmla="*/ 863514 h 863514"/>
              <a:gd name="connsiteX5" fmla="*/ 342810 w 861873"/>
              <a:gd name="connsiteY5" fmla="*/ 855224 h 863514"/>
              <a:gd name="connsiteX6" fmla="*/ 6650 w 861873"/>
              <a:gd name="connsiteY6" fmla="*/ 519063 h 863514"/>
              <a:gd name="connsiteX7" fmla="*/ 0 w 861873"/>
              <a:gd name="connsiteY7" fmla="*/ 453100 h 863514"/>
              <a:gd name="connsiteX8" fmla="*/ 0 w 861873"/>
              <a:gd name="connsiteY8" fmla="*/ 410901 h 863514"/>
              <a:gd name="connsiteX9" fmla="*/ 6650 w 861873"/>
              <a:gd name="connsiteY9" fmla="*/ 344937 h 863514"/>
              <a:gd name="connsiteX10" fmla="*/ 429873 w 861873"/>
              <a:gd name="connsiteY10" fmla="*/ 0 h 863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61873" h="863514">
                <a:moveTo>
                  <a:pt x="429873" y="0"/>
                </a:moveTo>
                <a:cubicBezTo>
                  <a:pt x="668460" y="0"/>
                  <a:pt x="861873" y="193413"/>
                  <a:pt x="861873" y="432000"/>
                </a:cubicBezTo>
                <a:cubicBezTo>
                  <a:pt x="861873" y="640764"/>
                  <a:pt x="713791" y="814941"/>
                  <a:pt x="516936" y="855224"/>
                </a:cubicBezTo>
                <a:lnTo>
                  <a:pt x="434694" y="863514"/>
                </a:lnTo>
                <a:lnTo>
                  <a:pt x="425052" y="863514"/>
                </a:lnTo>
                <a:lnTo>
                  <a:pt x="342810" y="855224"/>
                </a:lnTo>
                <a:cubicBezTo>
                  <a:pt x="174077" y="820696"/>
                  <a:pt x="41177" y="687796"/>
                  <a:pt x="6650" y="519063"/>
                </a:cubicBezTo>
                <a:lnTo>
                  <a:pt x="0" y="453100"/>
                </a:lnTo>
                <a:lnTo>
                  <a:pt x="0" y="410901"/>
                </a:lnTo>
                <a:lnTo>
                  <a:pt x="6650" y="344937"/>
                </a:lnTo>
                <a:cubicBezTo>
                  <a:pt x="46932" y="148082"/>
                  <a:pt x="221109" y="0"/>
                  <a:pt x="429873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  <a:ln w="2540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E492AB29-2020-7347-B966-39F990C5D8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79A07554-3F3B-B24C-9109-95B9763A158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0E3A3ADD-0E6F-244C-A69A-1F1932889FE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9594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Цитат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>
            <a:extLst>
              <a:ext uri="{FF2B5EF4-FFF2-40B4-BE49-F238E27FC236}">
                <a16:creationId xmlns:a16="http://schemas.microsoft.com/office/drawing/2014/main" id="{EC51E87E-2D93-5244-A7F8-5FDEFE685618}"/>
              </a:ext>
            </a:extLst>
          </p:cNvPr>
          <p:cNvSpPr txBox="1"/>
          <p:nvPr userDrawn="1"/>
        </p:nvSpPr>
        <p:spPr>
          <a:xfrm>
            <a:off x="5863992" y="-137333"/>
            <a:ext cx="2135200" cy="769441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spcAft>
                <a:spcPts val="300"/>
              </a:spcAft>
              <a:buClr>
                <a:schemeClr val="accent1"/>
              </a:buClr>
            </a:pPr>
            <a:r>
              <a:rPr lang="en-US" sz="50000" dirty="0">
                <a:gradFill flip="none" rotWithShape="1">
                  <a:gsLst>
                    <a:gs pos="0">
                      <a:schemeClr val="accent1"/>
                    </a:gs>
                    <a:gs pos="4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j-lt"/>
                <a:ea typeface="Euclid Circular A" panose="020B0504000000000000" pitchFamily="34" charset="-52"/>
              </a:rPr>
              <a:t>“</a:t>
            </a:r>
            <a:endParaRPr lang="ru-RU" sz="50000" dirty="0">
              <a:gradFill flip="none" rotWithShape="1">
                <a:gsLst>
                  <a:gs pos="0">
                    <a:schemeClr val="accent1"/>
                  </a:gs>
                  <a:gs pos="4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  <a:latin typeface="+mj-lt"/>
              <a:ea typeface="Euclid Circular A" panose="020B0504000000000000" pitchFamily="34" charset="-52"/>
            </a:endParaRP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9845C5A2-39F0-4542-BFDF-637D329774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123434" y="2415024"/>
            <a:ext cx="526529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8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Текст цитаты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D06CD585-9E8B-2D4B-8F76-AD0D8330C16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14689" y="5480597"/>
            <a:ext cx="457403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buFont typeface="Arial" panose="020B0604020202020204" pitchFamily="34" charset="0"/>
              <a:buNone/>
              <a:defRPr sz="2000">
                <a:solidFill>
                  <a:schemeClr val="accent1"/>
                </a:solidFill>
                <a:latin typeface="+mj-lt"/>
              </a:defRPr>
            </a:lvl1pPr>
            <a:lvl2pPr marL="4572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2pPr>
            <a:lvl3pPr marL="9144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3pPr>
            <a:lvl4pPr marL="13716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4pPr>
            <a:lvl5pPr marL="1828800" indent="0" algn="ctr"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Имя автор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89C4C35-A416-794B-82BF-B34423D82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39" name="Полилиния 38">
            <a:extLst>
              <a:ext uri="{FF2B5EF4-FFF2-40B4-BE49-F238E27FC236}">
                <a16:creationId xmlns:a16="http://schemas.microsoft.com/office/drawing/2014/main" id="{D753E924-0C91-EC45-BBDB-3E7F8622C4B1}"/>
              </a:ext>
            </a:extLst>
          </p:cNvPr>
          <p:cNvSpPr/>
          <p:nvPr userDrawn="1"/>
        </p:nvSpPr>
        <p:spPr>
          <a:xfrm>
            <a:off x="751078" y="5831748"/>
            <a:ext cx="3838765" cy="1026252"/>
          </a:xfrm>
          <a:custGeom>
            <a:avLst/>
            <a:gdLst>
              <a:gd name="connsiteX0" fmla="*/ 198327 w 3838765"/>
              <a:gd name="connsiteY0" fmla="*/ 0 h 1026252"/>
              <a:gd name="connsiteX1" fmla="*/ 3640438 w 3838765"/>
              <a:gd name="connsiteY1" fmla="*/ 0 h 1026252"/>
              <a:gd name="connsiteX2" fmla="*/ 3838765 w 3838765"/>
              <a:gd name="connsiteY2" fmla="*/ 198327 h 1026252"/>
              <a:gd name="connsiteX3" fmla="*/ 3838765 w 3838765"/>
              <a:gd name="connsiteY3" fmla="*/ 1026252 h 1026252"/>
              <a:gd name="connsiteX4" fmla="*/ 0 w 3838765"/>
              <a:gd name="connsiteY4" fmla="*/ 1026252 h 1026252"/>
              <a:gd name="connsiteX5" fmla="*/ 0 w 3838765"/>
              <a:gd name="connsiteY5" fmla="*/ 198327 h 1026252"/>
              <a:gd name="connsiteX6" fmla="*/ 198327 w 3838765"/>
              <a:gd name="connsiteY6" fmla="*/ 0 h 1026252"/>
              <a:gd name="connsiteX0" fmla="*/ 0 w 3838765"/>
              <a:gd name="connsiteY0" fmla="*/ 1026252 h 1117692"/>
              <a:gd name="connsiteX1" fmla="*/ 0 w 3838765"/>
              <a:gd name="connsiteY1" fmla="*/ 198327 h 1117692"/>
              <a:gd name="connsiteX2" fmla="*/ 198327 w 3838765"/>
              <a:gd name="connsiteY2" fmla="*/ 0 h 1117692"/>
              <a:gd name="connsiteX3" fmla="*/ 3640438 w 3838765"/>
              <a:gd name="connsiteY3" fmla="*/ 0 h 1117692"/>
              <a:gd name="connsiteX4" fmla="*/ 3838765 w 3838765"/>
              <a:gd name="connsiteY4" fmla="*/ 198327 h 1117692"/>
              <a:gd name="connsiteX5" fmla="*/ 3838765 w 3838765"/>
              <a:gd name="connsiteY5" fmla="*/ 1026252 h 1117692"/>
              <a:gd name="connsiteX6" fmla="*/ 91440 w 3838765"/>
              <a:gd name="connsiteY6" fmla="*/ 1117692 h 1117692"/>
              <a:gd name="connsiteX0" fmla="*/ 0 w 3838765"/>
              <a:gd name="connsiteY0" fmla="*/ 1026252 h 2151361"/>
              <a:gd name="connsiteX1" fmla="*/ 0 w 3838765"/>
              <a:gd name="connsiteY1" fmla="*/ 198327 h 2151361"/>
              <a:gd name="connsiteX2" fmla="*/ 198327 w 3838765"/>
              <a:gd name="connsiteY2" fmla="*/ 0 h 2151361"/>
              <a:gd name="connsiteX3" fmla="*/ 3640438 w 3838765"/>
              <a:gd name="connsiteY3" fmla="*/ 0 h 2151361"/>
              <a:gd name="connsiteX4" fmla="*/ 3838765 w 3838765"/>
              <a:gd name="connsiteY4" fmla="*/ 198327 h 2151361"/>
              <a:gd name="connsiteX5" fmla="*/ 3838765 w 3838765"/>
              <a:gd name="connsiteY5" fmla="*/ 1026252 h 2151361"/>
              <a:gd name="connsiteX6" fmla="*/ 767301 w 3838765"/>
              <a:gd name="connsiteY6" fmla="*/ 2151361 h 2151361"/>
              <a:gd name="connsiteX0" fmla="*/ 0 w 3838765"/>
              <a:gd name="connsiteY0" fmla="*/ 1026252 h 1026252"/>
              <a:gd name="connsiteX1" fmla="*/ 0 w 3838765"/>
              <a:gd name="connsiteY1" fmla="*/ 198327 h 1026252"/>
              <a:gd name="connsiteX2" fmla="*/ 198327 w 3838765"/>
              <a:gd name="connsiteY2" fmla="*/ 0 h 1026252"/>
              <a:gd name="connsiteX3" fmla="*/ 3640438 w 3838765"/>
              <a:gd name="connsiteY3" fmla="*/ 0 h 1026252"/>
              <a:gd name="connsiteX4" fmla="*/ 3838765 w 3838765"/>
              <a:gd name="connsiteY4" fmla="*/ 198327 h 1026252"/>
              <a:gd name="connsiteX5" fmla="*/ 3838765 w 3838765"/>
              <a:gd name="connsiteY5" fmla="*/ 1026252 h 102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8765" h="1026252">
                <a:moveTo>
                  <a:pt x="0" y="1026252"/>
                </a:moveTo>
                <a:lnTo>
                  <a:pt x="0" y="198327"/>
                </a:lnTo>
                <a:cubicBezTo>
                  <a:pt x="0" y="88794"/>
                  <a:pt x="88794" y="0"/>
                  <a:pt x="198327" y="0"/>
                </a:cubicBezTo>
                <a:lnTo>
                  <a:pt x="3640438" y="0"/>
                </a:lnTo>
                <a:cubicBezTo>
                  <a:pt x="3749971" y="0"/>
                  <a:pt x="3838765" y="88794"/>
                  <a:pt x="3838765" y="198327"/>
                </a:cubicBezTo>
                <a:lnTo>
                  <a:pt x="3838765" y="1026252"/>
                </a:lnTo>
              </a:path>
            </a:pathLst>
          </a:cu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1" name="Полилиния 40">
            <a:extLst>
              <a:ext uri="{FF2B5EF4-FFF2-40B4-BE49-F238E27FC236}">
                <a16:creationId xmlns:a16="http://schemas.microsoft.com/office/drawing/2014/main" id="{99D7870C-E20D-BF42-9DEF-AD82A5016BDD}"/>
              </a:ext>
            </a:extLst>
          </p:cNvPr>
          <p:cNvSpPr/>
          <p:nvPr userDrawn="1"/>
        </p:nvSpPr>
        <p:spPr>
          <a:xfrm rot="10800000">
            <a:off x="751078" y="-39088"/>
            <a:ext cx="3838765" cy="1026252"/>
          </a:xfrm>
          <a:custGeom>
            <a:avLst/>
            <a:gdLst>
              <a:gd name="connsiteX0" fmla="*/ 198327 w 3838765"/>
              <a:gd name="connsiteY0" fmla="*/ 0 h 1026252"/>
              <a:gd name="connsiteX1" fmla="*/ 3640438 w 3838765"/>
              <a:gd name="connsiteY1" fmla="*/ 0 h 1026252"/>
              <a:gd name="connsiteX2" fmla="*/ 3838765 w 3838765"/>
              <a:gd name="connsiteY2" fmla="*/ 198327 h 1026252"/>
              <a:gd name="connsiteX3" fmla="*/ 3838765 w 3838765"/>
              <a:gd name="connsiteY3" fmla="*/ 1026252 h 1026252"/>
              <a:gd name="connsiteX4" fmla="*/ 0 w 3838765"/>
              <a:gd name="connsiteY4" fmla="*/ 1026252 h 1026252"/>
              <a:gd name="connsiteX5" fmla="*/ 0 w 3838765"/>
              <a:gd name="connsiteY5" fmla="*/ 198327 h 1026252"/>
              <a:gd name="connsiteX6" fmla="*/ 198327 w 3838765"/>
              <a:gd name="connsiteY6" fmla="*/ 0 h 1026252"/>
              <a:gd name="connsiteX0" fmla="*/ 0 w 3838765"/>
              <a:gd name="connsiteY0" fmla="*/ 1026252 h 1117692"/>
              <a:gd name="connsiteX1" fmla="*/ 0 w 3838765"/>
              <a:gd name="connsiteY1" fmla="*/ 198327 h 1117692"/>
              <a:gd name="connsiteX2" fmla="*/ 198327 w 3838765"/>
              <a:gd name="connsiteY2" fmla="*/ 0 h 1117692"/>
              <a:gd name="connsiteX3" fmla="*/ 3640438 w 3838765"/>
              <a:gd name="connsiteY3" fmla="*/ 0 h 1117692"/>
              <a:gd name="connsiteX4" fmla="*/ 3838765 w 3838765"/>
              <a:gd name="connsiteY4" fmla="*/ 198327 h 1117692"/>
              <a:gd name="connsiteX5" fmla="*/ 3838765 w 3838765"/>
              <a:gd name="connsiteY5" fmla="*/ 1026252 h 1117692"/>
              <a:gd name="connsiteX6" fmla="*/ 91440 w 3838765"/>
              <a:gd name="connsiteY6" fmla="*/ 1117692 h 1117692"/>
              <a:gd name="connsiteX0" fmla="*/ 0 w 3838765"/>
              <a:gd name="connsiteY0" fmla="*/ 1026252 h 2151361"/>
              <a:gd name="connsiteX1" fmla="*/ 0 w 3838765"/>
              <a:gd name="connsiteY1" fmla="*/ 198327 h 2151361"/>
              <a:gd name="connsiteX2" fmla="*/ 198327 w 3838765"/>
              <a:gd name="connsiteY2" fmla="*/ 0 h 2151361"/>
              <a:gd name="connsiteX3" fmla="*/ 3640438 w 3838765"/>
              <a:gd name="connsiteY3" fmla="*/ 0 h 2151361"/>
              <a:gd name="connsiteX4" fmla="*/ 3838765 w 3838765"/>
              <a:gd name="connsiteY4" fmla="*/ 198327 h 2151361"/>
              <a:gd name="connsiteX5" fmla="*/ 3838765 w 3838765"/>
              <a:gd name="connsiteY5" fmla="*/ 1026252 h 2151361"/>
              <a:gd name="connsiteX6" fmla="*/ 767301 w 3838765"/>
              <a:gd name="connsiteY6" fmla="*/ 2151361 h 2151361"/>
              <a:gd name="connsiteX0" fmla="*/ 0 w 3838765"/>
              <a:gd name="connsiteY0" fmla="*/ 1026252 h 1026252"/>
              <a:gd name="connsiteX1" fmla="*/ 0 w 3838765"/>
              <a:gd name="connsiteY1" fmla="*/ 198327 h 1026252"/>
              <a:gd name="connsiteX2" fmla="*/ 198327 w 3838765"/>
              <a:gd name="connsiteY2" fmla="*/ 0 h 1026252"/>
              <a:gd name="connsiteX3" fmla="*/ 3640438 w 3838765"/>
              <a:gd name="connsiteY3" fmla="*/ 0 h 1026252"/>
              <a:gd name="connsiteX4" fmla="*/ 3838765 w 3838765"/>
              <a:gd name="connsiteY4" fmla="*/ 198327 h 1026252"/>
              <a:gd name="connsiteX5" fmla="*/ 3838765 w 3838765"/>
              <a:gd name="connsiteY5" fmla="*/ 1026252 h 10262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38765" h="1026252">
                <a:moveTo>
                  <a:pt x="0" y="1026252"/>
                </a:moveTo>
                <a:lnTo>
                  <a:pt x="0" y="198327"/>
                </a:lnTo>
                <a:cubicBezTo>
                  <a:pt x="0" y="88794"/>
                  <a:pt x="88794" y="0"/>
                  <a:pt x="198327" y="0"/>
                </a:cubicBezTo>
                <a:lnTo>
                  <a:pt x="3640438" y="0"/>
                </a:lnTo>
                <a:cubicBezTo>
                  <a:pt x="3749971" y="0"/>
                  <a:pt x="3838765" y="88794"/>
                  <a:pt x="3838765" y="198327"/>
                </a:cubicBezTo>
                <a:lnTo>
                  <a:pt x="3838765" y="1026252"/>
                </a:lnTo>
              </a:path>
            </a:pathLst>
          </a:cu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69BD7D03-2950-CC4A-998C-16108B1731F8}"/>
              </a:ext>
            </a:extLst>
          </p:cNvPr>
          <p:cNvSpPr>
            <a:spLocks noChangeAspect="1"/>
          </p:cNvSpPr>
          <p:nvPr userDrawn="1"/>
        </p:nvSpPr>
        <p:spPr>
          <a:xfrm>
            <a:off x="695464" y="1434460"/>
            <a:ext cx="3960000" cy="3960000"/>
          </a:xfrm>
          <a:custGeom>
            <a:avLst/>
            <a:gdLst>
              <a:gd name="connsiteX0" fmla="*/ 227564 w 3960000"/>
              <a:gd name="connsiteY0" fmla="*/ 125192 h 3960000"/>
              <a:gd name="connsiteX1" fmla="*/ 120996 w 3960000"/>
              <a:gd name="connsiteY1" fmla="*/ 231760 h 3960000"/>
              <a:gd name="connsiteX2" fmla="*/ 120996 w 3960000"/>
              <a:gd name="connsiteY2" fmla="*/ 3726624 h 3960000"/>
              <a:gd name="connsiteX3" fmla="*/ 227564 w 3960000"/>
              <a:gd name="connsiteY3" fmla="*/ 3833192 h 3960000"/>
              <a:gd name="connsiteX4" fmla="*/ 3722428 w 3960000"/>
              <a:gd name="connsiteY4" fmla="*/ 3833192 h 3960000"/>
              <a:gd name="connsiteX5" fmla="*/ 3828996 w 3960000"/>
              <a:gd name="connsiteY5" fmla="*/ 3726624 h 3960000"/>
              <a:gd name="connsiteX6" fmla="*/ 3828996 w 3960000"/>
              <a:gd name="connsiteY6" fmla="*/ 231760 h 3960000"/>
              <a:gd name="connsiteX7" fmla="*/ 3722428 w 3960000"/>
              <a:gd name="connsiteY7" fmla="*/ 125192 h 3960000"/>
              <a:gd name="connsiteX8" fmla="*/ 237798 w 3960000"/>
              <a:gd name="connsiteY8" fmla="*/ 0 h 3960000"/>
              <a:gd name="connsiteX9" fmla="*/ 3722202 w 3960000"/>
              <a:gd name="connsiteY9" fmla="*/ 0 h 3960000"/>
              <a:gd name="connsiteX10" fmla="*/ 3960000 w 3960000"/>
              <a:gd name="connsiteY10" fmla="*/ 237798 h 3960000"/>
              <a:gd name="connsiteX11" fmla="*/ 3960000 w 3960000"/>
              <a:gd name="connsiteY11" fmla="*/ 3722202 h 3960000"/>
              <a:gd name="connsiteX12" fmla="*/ 3722202 w 3960000"/>
              <a:gd name="connsiteY12" fmla="*/ 3960000 h 3960000"/>
              <a:gd name="connsiteX13" fmla="*/ 237798 w 3960000"/>
              <a:gd name="connsiteY13" fmla="*/ 3960000 h 3960000"/>
              <a:gd name="connsiteX14" fmla="*/ 0 w 3960000"/>
              <a:gd name="connsiteY14" fmla="*/ 3722202 h 3960000"/>
              <a:gd name="connsiteX15" fmla="*/ 0 w 3960000"/>
              <a:gd name="connsiteY15" fmla="*/ 237798 h 3960000"/>
              <a:gd name="connsiteX16" fmla="*/ 237798 w 3960000"/>
              <a:gd name="connsiteY16" fmla="*/ 0 h 39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960000" h="3960000">
                <a:moveTo>
                  <a:pt x="227564" y="125192"/>
                </a:moveTo>
                <a:cubicBezTo>
                  <a:pt x="168708" y="125192"/>
                  <a:pt x="120996" y="172904"/>
                  <a:pt x="120996" y="231760"/>
                </a:cubicBezTo>
                <a:lnTo>
                  <a:pt x="120996" y="3726624"/>
                </a:lnTo>
                <a:cubicBezTo>
                  <a:pt x="120996" y="3785480"/>
                  <a:pt x="168708" y="3833192"/>
                  <a:pt x="227564" y="3833192"/>
                </a:cubicBezTo>
                <a:lnTo>
                  <a:pt x="3722428" y="3833192"/>
                </a:lnTo>
                <a:cubicBezTo>
                  <a:pt x="3781284" y="3833192"/>
                  <a:pt x="3828996" y="3785480"/>
                  <a:pt x="3828996" y="3726624"/>
                </a:cubicBezTo>
                <a:lnTo>
                  <a:pt x="3828996" y="231760"/>
                </a:lnTo>
                <a:cubicBezTo>
                  <a:pt x="3828996" y="172904"/>
                  <a:pt x="3781284" y="125192"/>
                  <a:pt x="3722428" y="125192"/>
                </a:cubicBezTo>
                <a:close/>
                <a:moveTo>
                  <a:pt x="237798" y="0"/>
                </a:moveTo>
                <a:lnTo>
                  <a:pt x="3722202" y="0"/>
                </a:lnTo>
                <a:cubicBezTo>
                  <a:pt x="3853534" y="0"/>
                  <a:pt x="3960000" y="106466"/>
                  <a:pt x="3960000" y="237798"/>
                </a:cubicBezTo>
                <a:lnTo>
                  <a:pt x="3960000" y="3722202"/>
                </a:lnTo>
                <a:cubicBezTo>
                  <a:pt x="3960000" y="3853534"/>
                  <a:pt x="3853534" y="3960000"/>
                  <a:pt x="3722202" y="3960000"/>
                </a:cubicBezTo>
                <a:lnTo>
                  <a:pt x="237798" y="3960000"/>
                </a:lnTo>
                <a:cubicBezTo>
                  <a:pt x="106466" y="3960000"/>
                  <a:pt x="0" y="3853534"/>
                  <a:pt x="0" y="3722202"/>
                </a:cubicBezTo>
                <a:lnTo>
                  <a:pt x="0" y="237798"/>
                </a:lnTo>
                <a:cubicBezTo>
                  <a:pt x="0" y="106466"/>
                  <a:pt x="106466" y="0"/>
                  <a:pt x="23779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BC574F1F-2388-C741-9BD5-20AF6B59C4D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12464" y="1551460"/>
            <a:ext cx="3726000" cy="3726000"/>
          </a:xfrm>
          <a:custGeom>
            <a:avLst/>
            <a:gdLst>
              <a:gd name="connsiteX0" fmla="*/ 106568 w 3707674"/>
              <a:gd name="connsiteY0" fmla="*/ 0 h 3708000"/>
              <a:gd name="connsiteX1" fmla="*/ 3601432 w 3707674"/>
              <a:gd name="connsiteY1" fmla="*/ 0 h 3708000"/>
              <a:gd name="connsiteX2" fmla="*/ 3699626 w 3707674"/>
              <a:gd name="connsiteY2" fmla="*/ 65087 h 3708000"/>
              <a:gd name="connsiteX3" fmla="*/ 3707674 w 3707674"/>
              <a:gd name="connsiteY3" fmla="*/ 104953 h 3708000"/>
              <a:gd name="connsiteX4" fmla="*/ 3707674 w 3707674"/>
              <a:gd name="connsiteY4" fmla="*/ 3603047 h 3708000"/>
              <a:gd name="connsiteX5" fmla="*/ 3699626 w 3707674"/>
              <a:gd name="connsiteY5" fmla="*/ 3642913 h 3708000"/>
              <a:gd name="connsiteX6" fmla="*/ 3601432 w 3707674"/>
              <a:gd name="connsiteY6" fmla="*/ 3708000 h 3708000"/>
              <a:gd name="connsiteX7" fmla="*/ 106568 w 3707674"/>
              <a:gd name="connsiteY7" fmla="*/ 3708000 h 3708000"/>
              <a:gd name="connsiteX8" fmla="*/ 0 w 3707674"/>
              <a:gd name="connsiteY8" fmla="*/ 3601432 h 3708000"/>
              <a:gd name="connsiteX9" fmla="*/ 0 w 3707674"/>
              <a:gd name="connsiteY9" fmla="*/ 106568 h 3708000"/>
              <a:gd name="connsiteX10" fmla="*/ 106568 w 3707674"/>
              <a:gd name="connsiteY10" fmla="*/ 0 h 370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707674" h="3708000">
                <a:moveTo>
                  <a:pt x="106568" y="0"/>
                </a:moveTo>
                <a:lnTo>
                  <a:pt x="3601432" y="0"/>
                </a:lnTo>
                <a:cubicBezTo>
                  <a:pt x="3645574" y="0"/>
                  <a:pt x="3683448" y="26838"/>
                  <a:pt x="3699626" y="65087"/>
                </a:cubicBezTo>
                <a:lnTo>
                  <a:pt x="3707674" y="104953"/>
                </a:lnTo>
                <a:lnTo>
                  <a:pt x="3707674" y="3603047"/>
                </a:lnTo>
                <a:lnTo>
                  <a:pt x="3699626" y="3642913"/>
                </a:lnTo>
                <a:cubicBezTo>
                  <a:pt x="3683448" y="3681162"/>
                  <a:pt x="3645574" y="3708000"/>
                  <a:pt x="3601432" y="3708000"/>
                </a:cubicBezTo>
                <a:lnTo>
                  <a:pt x="106568" y="3708000"/>
                </a:lnTo>
                <a:cubicBezTo>
                  <a:pt x="47712" y="3708000"/>
                  <a:pt x="0" y="3660288"/>
                  <a:pt x="0" y="3601432"/>
                </a:cubicBezTo>
                <a:lnTo>
                  <a:pt x="0" y="106568"/>
                </a:lnTo>
                <a:cubicBezTo>
                  <a:pt x="0" y="47712"/>
                  <a:pt x="47712" y="0"/>
                  <a:pt x="106568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31341F-A298-D34B-924A-EF384C212C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5502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440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0698807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986574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val="174622097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Итоги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36">
            <a:extLst>
              <a:ext uri="{FF2B5EF4-FFF2-40B4-BE49-F238E27FC236}">
                <a16:creationId xmlns:a16="http://schemas.microsoft.com/office/drawing/2014/main" id="{0FCE9F05-6FE2-0B4B-85BA-ACE7F7E8B1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3275" y="1341438"/>
            <a:ext cx="4563855" cy="586753"/>
          </a:xfrm>
        </p:spPr>
        <p:txBody>
          <a:bodyPr lIns="0" tIns="0" rIns="0" bIns="0" anchor="ctr">
            <a:norm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Подведем итог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F590BFE-5AEA-FF4B-85C9-9B3BC7A5A0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262" y="388520"/>
            <a:ext cx="1065725" cy="355419"/>
          </a:xfrm>
          <a:prstGeom prst="rect">
            <a:avLst/>
          </a:prstGeom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538496A8-4DDD-5D49-AF00-B119ACDF1B78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219D801F-658D-204E-B018-D201391544A4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303B3B53-B655-B847-B5B0-0EB33B796D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CDAF741-C554-9548-88A2-4A7C5A6E333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23034" y="-706"/>
            <a:ext cx="6568755" cy="6867705"/>
          </a:xfrm>
          <a:custGeom>
            <a:avLst/>
            <a:gdLst>
              <a:gd name="connsiteX0" fmla="*/ 0 w 6583362"/>
              <a:gd name="connsiteY0" fmla="*/ 0 h 6858000"/>
              <a:gd name="connsiteX1" fmla="*/ 6583362 w 6583362"/>
              <a:gd name="connsiteY1" fmla="*/ 0 h 6858000"/>
              <a:gd name="connsiteX2" fmla="*/ 6583362 w 6583362"/>
              <a:gd name="connsiteY2" fmla="*/ 6858000 h 6858000"/>
              <a:gd name="connsiteX3" fmla="*/ 30214 w 6583362"/>
              <a:gd name="connsiteY3" fmla="*/ 6858000 h 6858000"/>
              <a:gd name="connsiteX4" fmla="*/ 889459 w 6583362"/>
              <a:gd name="connsiteY4" fmla="*/ 3431977 h 6858000"/>
              <a:gd name="connsiteX5" fmla="*/ 0 w 6583362"/>
              <a:gd name="connsiteY5" fmla="*/ 806 h 6858000"/>
              <a:gd name="connsiteX0" fmla="*/ 0 w 6583362"/>
              <a:gd name="connsiteY0" fmla="*/ 806 h 6858000"/>
              <a:gd name="connsiteX1" fmla="*/ 6583362 w 6583362"/>
              <a:gd name="connsiteY1" fmla="*/ 0 h 6858000"/>
              <a:gd name="connsiteX2" fmla="*/ 6583362 w 6583362"/>
              <a:gd name="connsiteY2" fmla="*/ 6858000 h 6858000"/>
              <a:gd name="connsiteX3" fmla="*/ 30214 w 6583362"/>
              <a:gd name="connsiteY3" fmla="*/ 6858000 h 6858000"/>
              <a:gd name="connsiteX4" fmla="*/ 889459 w 6583362"/>
              <a:gd name="connsiteY4" fmla="*/ 3431977 h 6858000"/>
              <a:gd name="connsiteX5" fmla="*/ 0 w 6583362"/>
              <a:gd name="connsiteY5" fmla="*/ 806 h 6858000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94029 w 6647177"/>
              <a:gd name="connsiteY3" fmla="*/ 6867705 h 6867705"/>
              <a:gd name="connsiteX4" fmla="*/ 953274 w 6647177"/>
              <a:gd name="connsiteY4" fmla="*/ 3441682 h 6867705"/>
              <a:gd name="connsiteX5" fmla="*/ 0 w 6647177"/>
              <a:gd name="connsiteY5" fmla="*/ 0 h 6867705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11944 w 6647177"/>
              <a:gd name="connsiteY3" fmla="*/ 6867705 h 6867705"/>
              <a:gd name="connsiteX4" fmla="*/ 953274 w 6647177"/>
              <a:gd name="connsiteY4" fmla="*/ 3441682 h 6867705"/>
              <a:gd name="connsiteX5" fmla="*/ 0 w 6647177"/>
              <a:gd name="connsiteY5" fmla="*/ 0 h 6867705"/>
              <a:gd name="connsiteX0" fmla="*/ 0 w 6647177"/>
              <a:gd name="connsiteY0" fmla="*/ 0 h 6867705"/>
              <a:gd name="connsiteX1" fmla="*/ 6647177 w 6647177"/>
              <a:gd name="connsiteY1" fmla="*/ 9705 h 6867705"/>
              <a:gd name="connsiteX2" fmla="*/ 6647177 w 6647177"/>
              <a:gd name="connsiteY2" fmla="*/ 6867705 h 6867705"/>
              <a:gd name="connsiteX3" fmla="*/ 11944 w 6647177"/>
              <a:gd name="connsiteY3" fmla="*/ 6867705 h 6867705"/>
              <a:gd name="connsiteX4" fmla="*/ 946470 w 6647177"/>
              <a:gd name="connsiteY4" fmla="*/ 3441682 h 6867705"/>
              <a:gd name="connsiteX5" fmla="*/ 0 w 6647177"/>
              <a:gd name="connsiteY5" fmla="*/ 0 h 68677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47177" h="6867705">
                <a:moveTo>
                  <a:pt x="0" y="0"/>
                </a:moveTo>
                <a:lnTo>
                  <a:pt x="6647177" y="9705"/>
                </a:lnTo>
                <a:lnTo>
                  <a:pt x="6647177" y="6867705"/>
                </a:lnTo>
                <a:lnTo>
                  <a:pt x="11944" y="6867705"/>
                </a:lnTo>
                <a:lnTo>
                  <a:pt x="946470" y="344168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0" indent="0" algn="ctr">
              <a:buNone/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228600" lvl="0" indent="-228600" algn="ctr"/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AD6F33B-2415-1C4C-B110-ECE18561BF1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8" y="6359240"/>
            <a:ext cx="4401928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33C2515-C1ED-3B4E-AE1E-A305BBEA906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621C5FB6-61E4-0240-8565-EFE1BFB061D2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6" name="Нижний колонтитул 3">
            <a:extLst>
              <a:ext uri="{FF2B5EF4-FFF2-40B4-BE49-F238E27FC236}">
                <a16:creationId xmlns:a16="http://schemas.microsoft.com/office/drawing/2014/main" id="{96AE1336-3ED7-C04D-A9FB-2598265F84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2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7667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E2F44F8C-947C-1644-A927-26E4B6403B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3972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Достижение цел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8337782-491F-4146-986F-1D2393C040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2" name="Текст 2">
            <a:extLst>
              <a:ext uri="{FF2B5EF4-FFF2-40B4-BE49-F238E27FC236}">
                <a16:creationId xmlns:a16="http://schemas.microsoft.com/office/drawing/2014/main" id="{C5FFB94A-244D-414D-92D8-758A83EE48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D22AF4B1-6379-B04D-B1EF-23A6DB84BA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C2CD96B6-2291-484B-8473-DF225020BAF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9911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Слайд об успех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4EEA65F8-6812-458A-9475-8A99B257607B}"/>
              </a:ext>
            </a:extLst>
          </p:cNvPr>
          <p:cNvSpPr/>
          <p:nvPr/>
        </p:nvSpPr>
        <p:spPr>
          <a:xfrm>
            <a:off x="6795064" y="1099433"/>
            <a:ext cx="5396937" cy="5758567"/>
          </a:xfrm>
          <a:custGeom>
            <a:avLst/>
            <a:gdLst>
              <a:gd name="connsiteX0" fmla="*/ 234360 w 5396937"/>
              <a:gd name="connsiteY0" fmla="*/ 869400 h 5758567"/>
              <a:gd name="connsiteX1" fmla="*/ 1323000 w 5396937"/>
              <a:gd name="connsiteY1" fmla="*/ 3054240 h 5758567"/>
              <a:gd name="connsiteX2" fmla="*/ 1292760 w 5396937"/>
              <a:gd name="connsiteY2" fmla="*/ 2683800 h 5758567"/>
              <a:gd name="connsiteX3" fmla="*/ 1292760 w 5396937"/>
              <a:gd name="connsiteY3" fmla="*/ 869400 h 5758567"/>
              <a:gd name="connsiteX4" fmla="*/ 1519560 w 5396937"/>
              <a:gd name="connsiteY4" fmla="*/ 234360 h 5758567"/>
              <a:gd name="connsiteX5" fmla="*/ 1519560 w 5396937"/>
              <a:gd name="connsiteY5" fmla="*/ 2691360 h 5758567"/>
              <a:gd name="connsiteX6" fmla="*/ 2615760 w 5396937"/>
              <a:gd name="connsiteY6" fmla="*/ 4422600 h 5758567"/>
              <a:gd name="connsiteX7" fmla="*/ 2691360 w 5396937"/>
              <a:gd name="connsiteY7" fmla="*/ 4445280 h 5758567"/>
              <a:gd name="connsiteX8" fmla="*/ 3024000 w 5396937"/>
              <a:gd name="connsiteY8" fmla="*/ 4490640 h 5758567"/>
              <a:gd name="connsiteX9" fmla="*/ 3318840 w 5396937"/>
              <a:gd name="connsiteY9" fmla="*/ 4452840 h 5758567"/>
              <a:gd name="connsiteX10" fmla="*/ 3417120 w 5396937"/>
              <a:gd name="connsiteY10" fmla="*/ 4422600 h 5758567"/>
              <a:gd name="connsiteX11" fmla="*/ 4520880 w 5396937"/>
              <a:gd name="connsiteY11" fmla="*/ 2691360 h 5758567"/>
              <a:gd name="connsiteX12" fmla="*/ 4520880 w 5396937"/>
              <a:gd name="connsiteY12" fmla="*/ 831600 h 5758567"/>
              <a:gd name="connsiteX13" fmla="*/ 4520880 w 5396937"/>
              <a:gd name="connsiteY13" fmla="*/ 687960 h 5758567"/>
              <a:gd name="connsiteX14" fmla="*/ 4520880 w 5396937"/>
              <a:gd name="connsiteY14" fmla="*/ 234360 h 5758567"/>
              <a:gd name="connsiteX15" fmla="*/ 1406160 w 5396937"/>
              <a:gd name="connsiteY15" fmla="*/ 0 h 5758567"/>
              <a:gd name="connsiteX16" fmla="*/ 4634280 w 5396937"/>
              <a:gd name="connsiteY16" fmla="*/ 0 h 5758567"/>
              <a:gd name="connsiteX17" fmla="*/ 4747680 w 5396937"/>
              <a:gd name="connsiteY17" fmla="*/ 113400 h 5758567"/>
              <a:gd name="connsiteX18" fmla="*/ 4747680 w 5396937"/>
              <a:gd name="connsiteY18" fmla="*/ 642600 h 5758567"/>
              <a:gd name="connsiteX19" fmla="*/ 5396937 w 5396937"/>
              <a:gd name="connsiteY19" fmla="*/ 642600 h 5758567"/>
              <a:gd name="connsiteX20" fmla="*/ 5396937 w 5396937"/>
              <a:gd name="connsiteY20" fmla="*/ 869400 h 5758567"/>
              <a:gd name="connsiteX21" fmla="*/ 4755241 w 5396937"/>
              <a:gd name="connsiteY21" fmla="*/ 869400 h 5758567"/>
              <a:gd name="connsiteX22" fmla="*/ 4755241 w 5396937"/>
              <a:gd name="connsiteY22" fmla="*/ 2683800 h 5758567"/>
              <a:gd name="connsiteX23" fmla="*/ 4725000 w 5396937"/>
              <a:gd name="connsiteY23" fmla="*/ 3039120 h 5758567"/>
              <a:gd name="connsiteX24" fmla="*/ 5334709 w 5396937"/>
              <a:gd name="connsiteY24" fmla="*/ 2377223 h 5758567"/>
              <a:gd name="connsiteX25" fmla="*/ 5396937 w 5396937"/>
              <a:gd name="connsiteY25" fmla="*/ 2261006 h 5758567"/>
              <a:gd name="connsiteX26" fmla="*/ 5396937 w 5396937"/>
              <a:gd name="connsiteY26" fmla="*/ 2685265 h 5758567"/>
              <a:gd name="connsiteX27" fmla="*/ 5343030 w 5396937"/>
              <a:gd name="connsiteY27" fmla="*/ 2763180 h 5758567"/>
              <a:gd name="connsiteX28" fmla="*/ 4656960 w 5396937"/>
              <a:gd name="connsiteY28" fmla="*/ 3333960 h 5758567"/>
              <a:gd name="connsiteX29" fmla="*/ 3507840 w 5396937"/>
              <a:gd name="connsiteY29" fmla="*/ 4626720 h 5758567"/>
              <a:gd name="connsiteX30" fmla="*/ 3507840 w 5396937"/>
              <a:gd name="connsiteY30" fmla="*/ 4641840 h 5758567"/>
              <a:gd name="connsiteX31" fmla="*/ 4407893 w 5396937"/>
              <a:gd name="connsiteY31" fmla="*/ 5745305 h 5758567"/>
              <a:gd name="connsiteX32" fmla="*/ 4494250 w 5396937"/>
              <a:gd name="connsiteY32" fmla="*/ 5758567 h 5758567"/>
              <a:gd name="connsiteX33" fmla="*/ 3877441 w 5396937"/>
              <a:gd name="connsiteY33" fmla="*/ 5758567 h 5758567"/>
              <a:gd name="connsiteX34" fmla="*/ 3840879 w 5396937"/>
              <a:gd name="connsiteY34" fmla="*/ 5734231 h 5758567"/>
              <a:gd name="connsiteX35" fmla="*/ 3281040 w 5396937"/>
              <a:gd name="connsiteY35" fmla="*/ 4687200 h 5758567"/>
              <a:gd name="connsiteX36" fmla="*/ 3016440 w 5396937"/>
              <a:gd name="connsiteY36" fmla="*/ 4709880 h 5758567"/>
              <a:gd name="connsiteX37" fmla="*/ 2729160 w 5396937"/>
              <a:gd name="connsiteY37" fmla="*/ 4679640 h 5758567"/>
              <a:gd name="connsiteX38" fmla="*/ 2200994 w 5396937"/>
              <a:gd name="connsiteY38" fmla="*/ 5735825 h 5758567"/>
              <a:gd name="connsiteX39" fmla="*/ 2167650 w 5396937"/>
              <a:gd name="connsiteY39" fmla="*/ 5758567 h 5758567"/>
              <a:gd name="connsiteX40" fmla="*/ 1560030 w 5396937"/>
              <a:gd name="connsiteY40" fmla="*/ 5758567 h 5758567"/>
              <a:gd name="connsiteX41" fmla="*/ 1643872 w 5396937"/>
              <a:gd name="connsiteY41" fmla="*/ 5745615 h 5758567"/>
              <a:gd name="connsiteX42" fmla="*/ 2509920 w 5396937"/>
              <a:gd name="connsiteY42" fmla="*/ 4641840 h 5758567"/>
              <a:gd name="connsiteX43" fmla="*/ 2509920 w 5396937"/>
              <a:gd name="connsiteY43" fmla="*/ 4619160 h 5758567"/>
              <a:gd name="connsiteX44" fmla="*/ 1391040 w 5396937"/>
              <a:gd name="connsiteY44" fmla="*/ 3349080 h 5758567"/>
              <a:gd name="connsiteX45" fmla="*/ 196560 w 5396937"/>
              <a:gd name="connsiteY45" fmla="*/ 1829520 h 5758567"/>
              <a:gd name="connsiteX46" fmla="*/ 0 w 5396937"/>
              <a:gd name="connsiteY46" fmla="*/ 763560 h 5758567"/>
              <a:gd name="connsiteX47" fmla="*/ 30240 w 5396937"/>
              <a:gd name="connsiteY47" fmla="*/ 680400 h 5758567"/>
              <a:gd name="connsiteX48" fmla="*/ 113400 w 5396937"/>
              <a:gd name="connsiteY48" fmla="*/ 642600 h 5758567"/>
              <a:gd name="connsiteX49" fmla="*/ 1292760 w 5396937"/>
              <a:gd name="connsiteY49" fmla="*/ 642600 h 5758567"/>
              <a:gd name="connsiteX50" fmla="*/ 1292760 w 5396937"/>
              <a:gd name="connsiteY50" fmla="*/ 113400 h 5758567"/>
              <a:gd name="connsiteX51" fmla="*/ 1406160 w 5396937"/>
              <a:gd name="connsiteY51" fmla="*/ 0 h 57585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5396937" h="5758567">
                <a:moveTo>
                  <a:pt x="234360" y="869400"/>
                </a:moveTo>
                <a:cubicBezTo>
                  <a:pt x="272160" y="1262520"/>
                  <a:pt x="461160" y="2540160"/>
                  <a:pt x="1323000" y="3054240"/>
                </a:cubicBezTo>
                <a:cubicBezTo>
                  <a:pt x="1300320" y="2933280"/>
                  <a:pt x="1292760" y="2812320"/>
                  <a:pt x="1292760" y="2683800"/>
                </a:cubicBezTo>
                <a:lnTo>
                  <a:pt x="1292760" y="869400"/>
                </a:lnTo>
                <a:close/>
                <a:moveTo>
                  <a:pt x="1519560" y="234360"/>
                </a:moveTo>
                <a:lnTo>
                  <a:pt x="1519560" y="2691360"/>
                </a:lnTo>
                <a:cubicBezTo>
                  <a:pt x="1519560" y="3515400"/>
                  <a:pt x="1988280" y="4210920"/>
                  <a:pt x="2615760" y="4422600"/>
                </a:cubicBezTo>
                <a:cubicBezTo>
                  <a:pt x="2630880" y="4422600"/>
                  <a:pt x="2668680" y="4437720"/>
                  <a:pt x="2691360" y="4445280"/>
                </a:cubicBezTo>
                <a:cubicBezTo>
                  <a:pt x="2797200" y="4475520"/>
                  <a:pt x="2910600" y="4490640"/>
                  <a:pt x="3024000" y="4490640"/>
                </a:cubicBezTo>
                <a:cubicBezTo>
                  <a:pt x="3122280" y="4490640"/>
                  <a:pt x="3220560" y="4475520"/>
                  <a:pt x="3318840" y="4452840"/>
                </a:cubicBezTo>
                <a:lnTo>
                  <a:pt x="3417120" y="4422600"/>
                </a:lnTo>
                <a:cubicBezTo>
                  <a:pt x="4052160" y="4210920"/>
                  <a:pt x="4520880" y="3515400"/>
                  <a:pt x="4520880" y="2691360"/>
                </a:cubicBezTo>
                <a:lnTo>
                  <a:pt x="4520880" y="831600"/>
                </a:lnTo>
                <a:lnTo>
                  <a:pt x="4520880" y="687960"/>
                </a:lnTo>
                <a:lnTo>
                  <a:pt x="4520880" y="234360"/>
                </a:lnTo>
                <a:close/>
                <a:moveTo>
                  <a:pt x="1406160" y="0"/>
                </a:moveTo>
                <a:lnTo>
                  <a:pt x="4634280" y="0"/>
                </a:lnTo>
                <a:cubicBezTo>
                  <a:pt x="4694760" y="0"/>
                  <a:pt x="4747680" y="52920"/>
                  <a:pt x="4747680" y="113400"/>
                </a:cubicBezTo>
                <a:lnTo>
                  <a:pt x="4747680" y="642600"/>
                </a:lnTo>
                <a:lnTo>
                  <a:pt x="5396937" y="642600"/>
                </a:lnTo>
                <a:lnTo>
                  <a:pt x="5396937" y="869400"/>
                </a:lnTo>
                <a:lnTo>
                  <a:pt x="4755241" y="869400"/>
                </a:lnTo>
                <a:lnTo>
                  <a:pt x="4755241" y="2683800"/>
                </a:lnTo>
                <a:cubicBezTo>
                  <a:pt x="4755241" y="2804760"/>
                  <a:pt x="4740120" y="2925720"/>
                  <a:pt x="4725000" y="3039120"/>
                </a:cubicBezTo>
                <a:cubicBezTo>
                  <a:pt x="4987237" y="2871383"/>
                  <a:pt x="5185244" y="2634985"/>
                  <a:pt x="5334709" y="2377223"/>
                </a:cubicBezTo>
                <a:lnTo>
                  <a:pt x="5396937" y="2261006"/>
                </a:lnTo>
                <a:lnTo>
                  <a:pt x="5396937" y="2685265"/>
                </a:lnTo>
                <a:lnTo>
                  <a:pt x="5343030" y="2763180"/>
                </a:lnTo>
                <a:cubicBezTo>
                  <a:pt x="5148360" y="3016440"/>
                  <a:pt x="4917780" y="3209220"/>
                  <a:pt x="4656960" y="3333960"/>
                </a:cubicBezTo>
                <a:cubicBezTo>
                  <a:pt x="4475520" y="3953880"/>
                  <a:pt x="4052160" y="4437720"/>
                  <a:pt x="3507840" y="4626720"/>
                </a:cubicBezTo>
                <a:lnTo>
                  <a:pt x="3507840" y="4641840"/>
                </a:lnTo>
                <a:cubicBezTo>
                  <a:pt x="3507840" y="5184270"/>
                  <a:pt x="3895644" y="5639878"/>
                  <a:pt x="4407893" y="5745305"/>
                </a:cubicBezTo>
                <a:lnTo>
                  <a:pt x="4494250" y="5758567"/>
                </a:lnTo>
                <a:lnTo>
                  <a:pt x="3877441" y="5758567"/>
                </a:lnTo>
                <a:lnTo>
                  <a:pt x="3840879" y="5734231"/>
                </a:lnTo>
                <a:cubicBezTo>
                  <a:pt x="3516699" y="5496947"/>
                  <a:pt x="3299940" y="5117175"/>
                  <a:pt x="3281040" y="4687200"/>
                </a:cubicBezTo>
                <a:cubicBezTo>
                  <a:pt x="3197880" y="4702320"/>
                  <a:pt x="3107160" y="4709880"/>
                  <a:pt x="3016440" y="4709880"/>
                </a:cubicBezTo>
                <a:cubicBezTo>
                  <a:pt x="2918160" y="4709880"/>
                  <a:pt x="2819880" y="4694760"/>
                  <a:pt x="2729160" y="4679640"/>
                </a:cubicBezTo>
                <a:cubicBezTo>
                  <a:pt x="2719710" y="5119065"/>
                  <a:pt x="2515354" y="5499428"/>
                  <a:pt x="2200994" y="5735825"/>
                </a:cubicBezTo>
                <a:lnTo>
                  <a:pt x="2167650" y="5758567"/>
                </a:lnTo>
                <a:lnTo>
                  <a:pt x="1560030" y="5758567"/>
                </a:lnTo>
                <a:lnTo>
                  <a:pt x="1643872" y="5745615"/>
                </a:lnTo>
                <a:cubicBezTo>
                  <a:pt x="2145268" y="5641532"/>
                  <a:pt x="2509920" y="5190885"/>
                  <a:pt x="2509920" y="4641840"/>
                </a:cubicBezTo>
                <a:lnTo>
                  <a:pt x="2509920" y="4619160"/>
                </a:lnTo>
                <a:cubicBezTo>
                  <a:pt x="1988280" y="4430160"/>
                  <a:pt x="1572480" y="3953880"/>
                  <a:pt x="1391040" y="3349080"/>
                </a:cubicBezTo>
                <a:cubicBezTo>
                  <a:pt x="846720" y="3107160"/>
                  <a:pt x="438480" y="2577960"/>
                  <a:pt x="196560" y="1829520"/>
                </a:cubicBezTo>
                <a:cubicBezTo>
                  <a:pt x="22680" y="1270080"/>
                  <a:pt x="0" y="786240"/>
                  <a:pt x="0" y="763560"/>
                </a:cubicBezTo>
                <a:cubicBezTo>
                  <a:pt x="0" y="733320"/>
                  <a:pt x="7560" y="703080"/>
                  <a:pt x="30240" y="680400"/>
                </a:cubicBezTo>
                <a:cubicBezTo>
                  <a:pt x="52920" y="657720"/>
                  <a:pt x="83160" y="642600"/>
                  <a:pt x="113400" y="642600"/>
                </a:cubicBezTo>
                <a:lnTo>
                  <a:pt x="1292760" y="642600"/>
                </a:lnTo>
                <a:lnTo>
                  <a:pt x="1292760" y="113400"/>
                </a:lnTo>
                <a:cubicBezTo>
                  <a:pt x="1292760" y="52920"/>
                  <a:pt x="1345680" y="0"/>
                  <a:pt x="140616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7553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AE91DE0-0856-E94F-A9F7-29FB3988F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FAE91DE0-0856-E94F-A9F7-29FB3988F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norm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5" name="Рисунок 184">
            <a:extLst>
              <a:ext uri="{FF2B5EF4-FFF2-40B4-BE49-F238E27FC236}">
                <a16:creationId xmlns:a16="http://schemas.microsoft.com/office/drawing/2014/main" id="{37CC6E31-6EE5-5746-87AC-33AF073E87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312993" y="1333826"/>
            <a:ext cx="3001320" cy="4256280"/>
          </a:xfrm>
          <a:custGeom>
            <a:avLst/>
            <a:gdLst>
              <a:gd name="connsiteX0" fmla="*/ 587921 w 3001320"/>
              <a:gd name="connsiteY0" fmla="*/ 0 h 4256280"/>
              <a:gd name="connsiteX1" fmla="*/ 3001320 w 3001320"/>
              <a:gd name="connsiteY1" fmla="*/ 0 h 4256280"/>
              <a:gd name="connsiteX2" fmla="*/ 3001320 w 3001320"/>
              <a:gd name="connsiteY2" fmla="*/ 453600 h 4256280"/>
              <a:gd name="connsiteX3" fmla="*/ 3001320 w 3001320"/>
              <a:gd name="connsiteY3" fmla="*/ 597240 h 4256280"/>
              <a:gd name="connsiteX4" fmla="*/ 3001320 w 3001320"/>
              <a:gd name="connsiteY4" fmla="*/ 2457000 h 4256280"/>
              <a:gd name="connsiteX5" fmla="*/ 1897560 w 3001320"/>
              <a:gd name="connsiteY5" fmla="*/ 4188240 h 4256280"/>
              <a:gd name="connsiteX6" fmla="*/ 1799280 w 3001320"/>
              <a:gd name="connsiteY6" fmla="*/ 4218480 h 4256280"/>
              <a:gd name="connsiteX7" fmla="*/ 1504440 w 3001320"/>
              <a:gd name="connsiteY7" fmla="*/ 4256280 h 4256280"/>
              <a:gd name="connsiteX8" fmla="*/ 1171800 w 3001320"/>
              <a:gd name="connsiteY8" fmla="*/ 4210920 h 4256280"/>
              <a:gd name="connsiteX9" fmla="*/ 1096200 w 3001320"/>
              <a:gd name="connsiteY9" fmla="*/ 4188240 h 4256280"/>
              <a:gd name="connsiteX10" fmla="*/ 0 w 3001320"/>
              <a:gd name="connsiteY10" fmla="*/ 2457000 h 4256280"/>
              <a:gd name="connsiteX11" fmla="*/ 0 w 3001320"/>
              <a:gd name="connsiteY11" fmla="*/ 1777625 h 4256280"/>
              <a:gd name="connsiteX12" fmla="*/ 8878 w 3001320"/>
              <a:gd name="connsiteY12" fmla="*/ 1778520 h 4256280"/>
              <a:gd name="connsiteX13" fmla="*/ 728878 w 3001320"/>
              <a:gd name="connsiteY13" fmla="*/ 1058520 h 4256280"/>
              <a:gd name="connsiteX14" fmla="*/ 289135 w 3001320"/>
              <a:gd name="connsiteY14" fmla="*/ 395101 h 4256280"/>
              <a:gd name="connsiteX15" fmla="*/ 248052 w 3001320"/>
              <a:gd name="connsiteY15" fmla="*/ 382349 h 4256280"/>
              <a:gd name="connsiteX16" fmla="*/ 587921 w 3001320"/>
              <a:gd name="connsiteY16" fmla="*/ 218268 h 4256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01320" h="4256280">
                <a:moveTo>
                  <a:pt x="587921" y="0"/>
                </a:moveTo>
                <a:lnTo>
                  <a:pt x="3001320" y="0"/>
                </a:lnTo>
                <a:lnTo>
                  <a:pt x="3001320" y="453600"/>
                </a:lnTo>
                <a:lnTo>
                  <a:pt x="3001320" y="597240"/>
                </a:lnTo>
                <a:lnTo>
                  <a:pt x="3001320" y="2457000"/>
                </a:lnTo>
                <a:cubicBezTo>
                  <a:pt x="3001320" y="3281040"/>
                  <a:pt x="2532600" y="3976560"/>
                  <a:pt x="1897560" y="4188240"/>
                </a:cubicBezTo>
                <a:lnTo>
                  <a:pt x="1799280" y="4218480"/>
                </a:lnTo>
                <a:cubicBezTo>
                  <a:pt x="1701000" y="4241160"/>
                  <a:pt x="1602720" y="4256280"/>
                  <a:pt x="1504440" y="4256280"/>
                </a:cubicBezTo>
                <a:cubicBezTo>
                  <a:pt x="1391040" y="4256280"/>
                  <a:pt x="1277640" y="4241160"/>
                  <a:pt x="1171800" y="4210920"/>
                </a:cubicBezTo>
                <a:cubicBezTo>
                  <a:pt x="1149120" y="4203360"/>
                  <a:pt x="1111320" y="4188240"/>
                  <a:pt x="1096200" y="4188240"/>
                </a:cubicBezTo>
                <a:cubicBezTo>
                  <a:pt x="468720" y="3976560"/>
                  <a:pt x="0" y="3281040"/>
                  <a:pt x="0" y="2457000"/>
                </a:cubicBezTo>
                <a:lnTo>
                  <a:pt x="0" y="1777625"/>
                </a:lnTo>
                <a:lnTo>
                  <a:pt x="8878" y="1778520"/>
                </a:lnTo>
                <a:cubicBezTo>
                  <a:pt x="406523" y="1778520"/>
                  <a:pt x="728878" y="1456165"/>
                  <a:pt x="728878" y="1058520"/>
                </a:cubicBezTo>
                <a:cubicBezTo>
                  <a:pt x="728878" y="760286"/>
                  <a:pt x="547553" y="504403"/>
                  <a:pt x="289135" y="395101"/>
                </a:cubicBezTo>
                <a:lnTo>
                  <a:pt x="248052" y="382349"/>
                </a:lnTo>
                <a:lnTo>
                  <a:pt x="587921" y="218268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86" name="Группа 185">
            <a:extLst>
              <a:ext uri="{FF2B5EF4-FFF2-40B4-BE49-F238E27FC236}">
                <a16:creationId xmlns:a16="http://schemas.microsoft.com/office/drawing/2014/main" id="{F5EE88C8-76B2-3B4D-9851-482672956E3F}"/>
              </a:ext>
            </a:extLst>
          </p:cNvPr>
          <p:cNvGrpSpPr/>
          <p:nvPr userDrawn="1"/>
        </p:nvGrpSpPr>
        <p:grpSpPr>
          <a:xfrm>
            <a:off x="7617637" y="995560"/>
            <a:ext cx="1440000" cy="2116786"/>
            <a:chOff x="5241377" y="3161798"/>
            <a:chExt cx="1440000" cy="2116786"/>
          </a:xfrm>
        </p:grpSpPr>
        <p:sp>
          <p:nvSpPr>
            <p:cNvPr id="187" name="Овал 186">
              <a:extLst>
                <a:ext uri="{FF2B5EF4-FFF2-40B4-BE49-F238E27FC236}">
                  <a16:creationId xmlns:a16="http://schemas.microsoft.com/office/drawing/2014/main" id="{4A63F203-495B-0845-9D42-333AEC62E43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241377" y="3838584"/>
              <a:ext cx="1440000" cy="1440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188" name="Группа 187">
              <a:extLst>
                <a:ext uri="{FF2B5EF4-FFF2-40B4-BE49-F238E27FC236}">
                  <a16:creationId xmlns:a16="http://schemas.microsoft.com/office/drawing/2014/main" id="{22EE3388-E3EB-BE4A-AC4E-17C19EB01FBA}"/>
                </a:ext>
              </a:extLst>
            </p:cNvPr>
            <p:cNvGrpSpPr/>
            <p:nvPr userDrawn="1"/>
          </p:nvGrpSpPr>
          <p:grpSpPr>
            <a:xfrm rot="10800000">
              <a:off x="5385135" y="3161798"/>
              <a:ext cx="1152483" cy="834729"/>
              <a:chOff x="1433528" y="4172580"/>
              <a:chExt cx="371579" cy="269130"/>
            </a:xfrm>
          </p:grpSpPr>
          <p:sp>
            <p:nvSpPr>
              <p:cNvPr id="191" name="Нашивка 190">
                <a:extLst>
                  <a:ext uri="{FF2B5EF4-FFF2-40B4-BE49-F238E27FC236}">
                    <a16:creationId xmlns:a16="http://schemas.microsoft.com/office/drawing/2014/main" id="{E5D5ABEB-D4F4-0941-BC66-76F2DF717158}"/>
                  </a:ext>
                </a:extLst>
              </p:cNvPr>
              <p:cNvSpPr/>
              <p:nvPr userDrawn="1"/>
            </p:nvSpPr>
            <p:spPr>
              <a:xfrm rot="16200000">
                <a:off x="1529622" y="4076486"/>
                <a:ext cx="179390" cy="371578"/>
              </a:xfrm>
              <a:prstGeom prst="chevron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192" name="Нашивка 191">
                <a:extLst>
                  <a:ext uri="{FF2B5EF4-FFF2-40B4-BE49-F238E27FC236}">
                    <a16:creationId xmlns:a16="http://schemas.microsoft.com/office/drawing/2014/main" id="{44DBED6E-1164-5E4B-B050-DD484279A8C5}"/>
                  </a:ext>
                </a:extLst>
              </p:cNvPr>
              <p:cNvSpPr/>
              <p:nvPr userDrawn="1"/>
            </p:nvSpPr>
            <p:spPr>
              <a:xfrm rot="16200000">
                <a:off x="1529576" y="4166180"/>
                <a:ext cx="179483" cy="371578"/>
              </a:xfrm>
              <a:prstGeom prst="chevro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89" name="Полилиния 188">
              <a:extLst>
                <a:ext uri="{FF2B5EF4-FFF2-40B4-BE49-F238E27FC236}">
                  <a16:creationId xmlns:a16="http://schemas.microsoft.com/office/drawing/2014/main" id="{C6FE1240-8A00-E94B-A405-C65B36C341E1}"/>
                </a:ext>
              </a:extLst>
            </p:cNvPr>
            <p:cNvSpPr/>
            <p:nvPr userDrawn="1"/>
          </p:nvSpPr>
          <p:spPr>
            <a:xfrm>
              <a:off x="5618059" y="4204079"/>
              <a:ext cx="686636" cy="655742"/>
            </a:xfrm>
            <a:custGeom>
              <a:avLst/>
              <a:gdLst>
                <a:gd name="connsiteX0" fmla="*/ 411026 w 779125"/>
                <a:gd name="connsiteY0" fmla="*/ 574746 h 744070"/>
                <a:gd name="connsiteX1" fmla="*/ 575579 w 779125"/>
                <a:gd name="connsiteY1" fmla="*/ 660600 h 744070"/>
                <a:gd name="connsiteX2" fmla="*/ 575579 w 779125"/>
                <a:gd name="connsiteY2" fmla="*/ 660600 h 744070"/>
                <a:gd name="connsiteX3" fmla="*/ 411027 w 779125"/>
                <a:gd name="connsiteY3" fmla="*/ 574746 h 744070"/>
                <a:gd name="connsiteX4" fmla="*/ 387178 w 779125"/>
                <a:gd name="connsiteY4" fmla="*/ 88239 h 744070"/>
                <a:gd name="connsiteX5" fmla="*/ 303708 w 779125"/>
                <a:gd name="connsiteY5" fmla="*/ 259948 h 744070"/>
                <a:gd name="connsiteX6" fmla="*/ 277475 w 779125"/>
                <a:gd name="connsiteY6" fmla="*/ 279026 h 744070"/>
                <a:gd name="connsiteX7" fmla="*/ 89073 w 779125"/>
                <a:gd name="connsiteY7" fmla="*/ 307644 h 744070"/>
                <a:gd name="connsiteX8" fmla="*/ 225009 w 779125"/>
                <a:gd name="connsiteY8" fmla="*/ 441195 h 744070"/>
                <a:gd name="connsiteX9" fmla="*/ 234548 w 779125"/>
                <a:gd name="connsiteY9" fmla="*/ 472198 h 744070"/>
                <a:gd name="connsiteX10" fmla="*/ 201160 w 779125"/>
                <a:gd name="connsiteY10" fmla="*/ 662985 h 744070"/>
                <a:gd name="connsiteX11" fmla="*/ 201161 w 779125"/>
                <a:gd name="connsiteY11" fmla="*/ 662985 h 744070"/>
                <a:gd name="connsiteX12" fmla="*/ 234549 w 779125"/>
                <a:gd name="connsiteY12" fmla="*/ 472198 h 744070"/>
                <a:gd name="connsiteX13" fmla="*/ 225010 w 779125"/>
                <a:gd name="connsiteY13" fmla="*/ 441195 h 744070"/>
                <a:gd name="connsiteX14" fmla="*/ 89074 w 779125"/>
                <a:gd name="connsiteY14" fmla="*/ 307644 h 744070"/>
                <a:gd name="connsiteX15" fmla="*/ 277476 w 779125"/>
                <a:gd name="connsiteY15" fmla="*/ 279026 h 744070"/>
                <a:gd name="connsiteX16" fmla="*/ 303709 w 779125"/>
                <a:gd name="connsiteY16" fmla="*/ 259948 h 744070"/>
                <a:gd name="connsiteX17" fmla="*/ 387179 w 779125"/>
                <a:gd name="connsiteY17" fmla="*/ 88240 h 744070"/>
                <a:gd name="connsiteX18" fmla="*/ 387178 w 779125"/>
                <a:gd name="connsiteY18" fmla="*/ 0 h 744070"/>
                <a:gd name="connsiteX19" fmla="*/ 439644 w 779125"/>
                <a:gd name="connsiteY19" fmla="*/ 33388 h 744070"/>
                <a:gd name="connsiteX20" fmla="*/ 527883 w 779125"/>
                <a:gd name="connsiteY20" fmla="*/ 212251 h 744070"/>
                <a:gd name="connsiteX21" fmla="*/ 723439 w 779125"/>
                <a:gd name="connsiteY21" fmla="*/ 240869 h 744070"/>
                <a:gd name="connsiteX22" fmla="*/ 775906 w 779125"/>
                <a:gd name="connsiteY22" fmla="*/ 281411 h 744070"/>
                <a:gd name="connsiteX23" fmla="*/ 761597 w 779125"/>
                <a:gd name="connsiteY23" fmla="*/ 341032 h 744070"/>
                <a:gd name="connsiteX24" fmla="*/ 618507 w 779125"/>
                <a:gd name="connsiteY24" fmla="*/ 479353 h 744070"/>
                <a:gd name="connsiteX25" fmla="*/ 651894 w 779125"/>
                <a:gd name="connsiteY25" fmla="*/ 674909 h 744070"/>
                <a:gd name="connsiteX26" fmla="*/ 628046 w 779125"/>
                <a:gd name="connsiteY26" fmla="*/ 732145 h 744070"/>
                <a:gd name="connsiteX27" fmla="*/ 566040 w 779125"/>
                <a:gd name="connsiteY27" fmla="*/ 736915 h 744070"/>
                <a:gd name="connsiteX28" fmla="*/ 394332 w 779125"/>
                <a:gd name="connsiteY28" fmla="*/ 646291 h 744070"/>
                <a:gd name="connsiteX29" fmla="*/ 213084 w 779125"/>
                <a:gd name="connsiteY29" fmla="*/ 736915 h 744070"/>
                <a:gd name="connsiteX30" fmla="*/ 186851 w 779125"/>
                <a:gd name="connsiteY30" fmla="*/ 744070 h 744070"/>
                <a:gd name="connsiteX31" fmla="*/ 151078 w 779125"/>
                <a:gd name="connsiteY31" fmla="*/ 732145 h 744070"/>
                <a:gd name="connsiteX32" fmla="*/ 127230 w 779125"/>
                <a:gd name="connsiteY32" fmla="*/ 674909 h 744070"/>
                <a:gd name="connsiteX33" fmla="*/ 160618 w 779125"/>
                <a:gd name="connsiteY33" fmla="*/ 479353 h 744070"/>
                <a:gd name="connsiteX34" fmla="*/ 17528 w 779125"/>
                <a:gd name="connsiteY34" fmla="*/ 341032 h 744070"/>
                <a:gd name="connsiteX35" fmla="*/ 3219 w 779125"/>
                <a:gd name="connsiteY35" fmla="*/ 281411 h 744070"/>
                <a:gd name="connsiteX36" fmla="*/ 50916 w 779125"/>
                <a:gd name="connsiteY36" fmla="*/ 240869 h 744070"/>
                <a:gd name="connsiteX37" fmla="*/ 246472 w 779125"/>
                <a:gd name="connsiteY37" fmla="*/ 212251 h 744070"/>
                <a:gd name="connsiteX38" fmla="*/ 334711 w 779125"/>
                <a:gd name="connsiteY38" fmla="*/ 33388 h 744070"/>
                <a:gd name="connsiteX39" fmla="*/ 387178 w 779125"/>
                <a:gd name="connsiteY39" fmla="*/ 0 h 74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779125" h="744070">
                  <a:moveTo>
                    <a:pt x="411026" y="574746"/>
                  </a:moveTo>
                  <a:lnTo>
                    <a:pt x="575579" y="660600"/>
                  </a:lnTo>
                  <a:lnTo>
                    <a:pt x="575579" y="660600"/>
                  </a:lnTo>
                  <a:lnTo>
                    <a:pt x="411027" y="574746"/>
                  </a:lnTo>
                  <a:close/>
                  <a:moveTo>
                    <a:pt x="387178" y="88239"/>
                  </a:moveTo>
                  <a:lnTo>
                    <a:pt x="303708" y="259948"/>
                  </a:lnTo>
                  <a:cubicBezTo>
                    <a:pt x="298938" y="269487"/>
                    <a:pt x="289399" y="276641"/>
                    <a:pt x="277475" y="279026"/>
                  </a:cubicBezTo>
                  <a:lnTo>
                    <a:pt x="89073" y="307644"/>
                  </a:lnTo>
                  <a:lnTo>
                    <a:pt x="225009" y="441195"/>
                  </a:lnTo>
                  <a:cubicBezTo>
                    <a:pt x="232163" y="448349"/>
                    <a:pt x="236933" y="460274"/>
                    <a:pt x="234548" y="472198"/>
                  </a:cubicBezTo>
                  <a:lnTo>
                    <a:pt x="201160" y="662985"/>
                  </a:lnTo>
                  <a:lnTo>
                    <a:pt x="201161" y="662985"/>
                  </a:lnTo>
                  <a:lnTo>
                    <a:pt x="234549" y="472198"/>
                  </a:lnTo>
                  <a:cubicBezTo>
                    <a:pt x="236934" y="460274"/>
                    <a:pt x="232164" y="448349"/>
                    <a:pt x="225010" y="441195"/>
                  </a:cubicBezTo>
                  <a:lnTo>
                    <a:pt x="89074" y="307644"/>
                  </a:lnTo>
                  <a:lnTo>
                    <a:pt x="277476" y="279026"/>
                  </a:lnTo>
                  <a:cubicBezTo>
                    <a:pt x="289400" y="276641"/>
                    <a:pt x="298939" y="269487"/>
                    <a:pt x="303709" y="259948"/>
                  </a:cubicBezTo>
                  <a:lnTo>
                    <a:pt x="387179" y="88240"/>
                  </a:lnTo>
                  <a:close/>
                  <a:moveTo>
                    <a:pt x="387178" y="0"/>
                  </a:moveTo>
                  <a:cubicBezTo>
                    <a:pt x="408641" y="0"/>
                    <a:pt x="430104" y="14309"/>
                    <a:pt x="439644" y="33388"/>
                  </a:cubicBezTo>
                  <a:lnTo>
                    <a:pt x="527883" y="212251"/>
                  </a:lnTo>
                  <a:lnTo>
                    <a:pt x="723439" y="240869"/>
                  </a:lnTo>
                  <a:cubicBezTo>
                    <a:pt x="747288" y="243253"/>
                    <a:pt x="763982" y="259948"/>
                    <a:pt x="775906" y="281411"/>
                  </a:cubicBezTo>
                  <a:cubicBezTo>
                    <a:pt x="783060" y="302874"/>
                    <a:pt x="778291" y="324338"/>
                    <a:pt x="761597" y="341032"/>
                  </a:cubicBezTo>
                  <a:lnTo>
                    <a:pt x="618507" y="479353"/>
                  </a:lnTo>
                  <a:lnTo>
                    <a:pt x="651894" y="674909"/>
                  </a:lnTo>
                  <a:cubicBezTo>
                    <a:pt x="654279" y="696373"/>
                    <a:pt x="647124" y="717836"/>
                    <a:pt x="628046" y="732145"/>
                  </a:cubicBezTo>
                  <a:cubicBezTo>
                    <a:pt x="608967" y="746454"/>
                    <a:pt x="585119" y="746454"/>
                    <a:pt x="566040" y="736915"/>
                  </a:cubicBezTo>
                  <a:lnTo>
                    <a:pt x="394332" y="646291"/>
                  </a:lnTo>
                  <a:lnTo>
                    <a:pt x="213084" y="736915"/>
                  </a:lnTo>
                  <a:cubicBezTo>
                    <a:pt x="205930" y="741685"/>
                    <a:pt x="196390" y="744070"/>
                    <a:pt x="186851" y="744070"/>
                  </a:cubicBezTo>
                  <a:cubicBezTo>
                    <a:pt x="172542" y="744070"/>
                    <a:pt x="160618" y="739300"/>
                    <a:pt x="151078" y="732145"/>
                  </a:cubicBezTo>
                  <a:cubicBezTo>
                    <a:pt x="132000" y="717836"/>
                    <a:pt x="122461" y="696373"/>
                    <a:pt x="127230" y="674909"/>
                  </a:cubicBezTo>
                  <a:lnTo>
                    <a:pt x="160618" y="479353"/>
                  </a:lnTo>
                  <a:lnTo>
                    <a:pt x="17528" y="341032"/>
                  </a:lnTo>
                  <a:cubicBezTo>
                    <a:pt x="834" y="326723"/>
                    <a:pt x="-3936" y="302874"/>
                    <a:pt x="3219" y="281411"/>
                  </a:cubicBezTo>
                  <a:cubicBezTo>
                    <a:pt x="10373" y="259948"/>
                    <a:pt x="29452" y="243253"/>
                    <a:pt x="50916" y="240869"/>
                  </a:cubicBezTo>
                  <a:lnTo>
                    <a:pt x="246472" y="212251"/>
                  </a:lnTo>
                  <a:lnTo>
                    <a:pt x="334711" y="33388"/>
                  </a:lnTo>
                  <a:cubicBezTo>
                    <a:pt x="344250" y="11924"/>
                    <a:pt x="365714" y="0"/>
                    <a:pt x="387178" y="0"/>
                  </a:cubicBezTo>
                  <a:close/>
                </a:path>
              </a:pathLst>
            </a:custGeom>
            <a:solidFill>
              <a:schemeClr val="bg1"/>
            </a:solidFill>
            <a:ln w="254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90" name="Овал 189">
              <a:extLst>
                <a:ext uri="{FF2B5EF4-FFF2-40B4-BE49-F238E27FC236}">
                  <a16:creationId xmlns:a16="http://schemas.microsoft.com/office/drawing/2014/main" id="{D9FA3957-8EEB-CC4F-A3B8-5C787FF2E52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422100" y="4018584"/>
              <a:ext cx="1078554" cy="1080000"/>
            </a:xfrm>
            <a:prstGeom prst="ellipse">
              <a:avLst/>
            </a:prstGeom>
            <a:noFill/>
            <a:ln w="1016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04CAC-5856-5047-9653-E1C825CF31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4C54C9B4-DE9E-7541-ABDE-00C5E6D1E62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C3DA0209-4E56-5949-AB3E-B584195AAA7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137529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AE898A1B-0441-FF49-BF91-E55F48CBB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8985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90326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lIns="0" tIns="0" rIns="0" bIns="0" anchor="t">
            <a:norm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8340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r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517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96.xml"/><Relationship Id="rId55" Type="http://schemas.openxmlformats.org/officeDocument/2006/relationships/tags" Target="../tags/tag45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87.xml"/><Relationship Id="rId54" Type="http://schemas.openxmlformats.org/officeDocument/2006/relationships/vmlDrawing" Target="../drawings/vmlDrawing44.v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56" Type="http://schemas.openxmlformats.org/officeDocument/2006/relationships/oleObject" Target="../embeddings/oleObject44.bin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3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3958887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" name="Слайд think-cell" r:id="rId50" imgW="7772400" imgH="10058400" progId="TCLayout.ActiveDocument.1">
                  <p:embed/>
                </p:oleObj>
              </mc:Choice>
              <mc:Fallback>
                <p:oleObj name="Слайд think-cell" r:id="rId5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90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8" r:id="rId2"/>
    <p:sldLayoutId id="2147483731" r:id="rId3"/>
    <p:sldLayoutId id="2147483710" r:id="rId4"/>
    <p:sldLayoutId id="2147483732" r:id="rId5"/>
    <p:sldLayoutId id="2147483711" r:id="rId6"/>
    <p:sldLayoutId id="2147483733" r:id="rId7"/>
    <p:sldLayoutId id="2147483712" r:id="rId8"/>
    <p:sldLayoutId id="2147483734" r:id="rId9"/>
    <p:sldLayoutId id="2147483713" r:id="rId10"/>
    <p:sldLayoutId id="2147483735" r:id="rId11"/>
    <p:sldLayoutId id="2147483714" r:id="rId12"/>
    <p:sldLayoutId id="2147483736" r:id="rId13"/>
    <p:sldLayoutId id="2147483649" r:id="rId14"/>
    <p:sldLayoutId id="2147483715" r:id="rId15"/>
    <p:sldLayoutId id="2147483716" r:id="rId16"/>
    <p:sldLayoutId id="2147483717" r:id="rId17"/>
    <p:sldLayoutId id="2147483768" r:id="rId18"/>
    <p:sldLayoutId id="2147483719" r:id="rId19"/>
    <p:sldLayoutId id="2147483769" r:id="rId20"/>
    <p:sldLayoutId id="2147483722" r:id="rId21"/>
    <p:sldLayoutId id="2147483723" r:id="rId22"/>
    <p:sldLayoutId id="2147483724" r:id="rId23"/>
    <p:sldLayoutId id="2147483725" r:id="rId24"/>
    <p:sldLayoutId id="2147483767" r:id="rId25"/>
    <p:sldLayoutId id="2147483727" r:id="rId26"/>
    <p:sldLayoutId id="2147483770" r:id="rId27"/>
    <p:sldLayoutId id="2147483759" r:id="rId28"/>
    <p:sldLayoutId id="2147483728" r:id="rId29"/>
    <p:sldLayoutId id="2147483729" r:id="rId30"/>
    <p:sldLayoutId id="2147483730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57" r:id="rId38"/>
    <p:sldLayoutId id="2147483744" r:id="rId39"/>
    <p:sldLayoutId id="2147483764" r:id="rId40"/>
    <p:sldLayoutId id="2147483765" r:id="rId41"/>
    <p:sldLayoutId id="2147483760" r:id="rId42"/>
    <p:sldLayoutId id="2147483761" r:id="rId43"/>
    <p:sldLayoutId id="2147483766" r:id="rId44"/>
    <p:sldLayoutId id="2147483771" r:id="rId45"/>
    <p:sldLayoutId id="2147483827" r:id="rId4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 userDrawn="1">
          <p15:clr>
            <a:srgbClr val="F26B43"/>
          </p15:clr>
        </p15:guide>
        <p15:guide id="2" pos="7174" userDrawn="1">
          <p15:clr>
            <a:srgbClr val="F26B43"/>
          </p15:clr>
        </p15:guide>
        <p15:guide id="3" orient="horz" pos="686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5" name="Слайд think-cell" r:id="rId56" imgW="7772400" imgH="10058400" progId="TCLayout.ActiveDocument.1">
                  <p:embed/>
                </p:oleObj>
              </mc:Choice>
              <mc:Fallback>
                <p:oleObj name="Слайд think-cell" r:id="rId56" imgW="7772400" imgH="100584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61D4D59-CE6F-8946-8CEC-CFA017835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2943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  <p:sldLayoutId id="2147483791" r:id="rId19"/>
    <p:sldLayoutId id="2147483792" r:id="rId20"/>
    <p:sldLayoutId id="2147483793" r:id="rId21"/>
    <p:sldLayoutId id="2147483794" r:id="rId22"/>
    <p:sldLayoutId id="2147483795" r:id="rId23"/>
    <p:sldLayoutId id="2147483796" r:id="rId24"/>
    <p:sldLayoutId id="2147483797" r:id="rId25"/>
    <p:sldLayoutId id="2147483798" r:id="rId26"/>
    <p:sldLayoutId id="2147483799" r:id="rId27"/>
    <p:sldLayoutId id="2147483800" r:id="rId28"/>
    <p:sldLayoutId id="2147483801" r:id="rId29"/>
    <p:sldLayoutId id="2147483802" r:id="rId30"/>
    <p:sldLayoutId id="2147483803" r:id="rId31"/>
    <p:sldLayoutId id="2147483804" r:id="rId32"/>
    <p:sldLayoutId id="2147483805" r:id="rId33"/>
    <p:sldLayoutId id="2147483807" r:id="rId34"/>
    <p:sldLayoutId id="2147483808" r:id="rId35"/>
    <p:sldLayoutId id="2147483809" r:id="rId36"/>
    <p:sldLayoutId id="2147483810" r:id="rId37"/>
    <p:sldLayoutId id="2147483811" r:id="rId38"/>
    <p:sldLayoutId id="2147483812" r:id="rId39"/>
    <p:sldLayoutId id="2147483813" r:id="rId40"/>
    <p:sldLayoutId id="2147483814" r:id="rId41"/>
    <p:sldLayoutId id="2147483815" r:id="rId42"/>
    <p:sldLayoutId id="2147483816" r:id="rId43"/>
    <p:sldLayoutId id="2147483818" r:id="rId44"/>
    <p:sldLayoutId id="2147483819" r:id="rId45"/>
    <p:sldLayoutId id="2147483820" r:id="rId46"/>
    <p:sldLayoutId id="2147483821" r:id="rId47"/>
    <p:sldLayoutId id="2147483822" r:id="rId48"/>
    <p:sldLayoutId id="2147483823" r:id="rId49"/>
    <p:sldLayoutId id="2147483824" r:id="rId50"/>
    <p:sldLayoutId id="2147483825" r:id="rId51"/>
    <p:sldLayoutId id="2147483826" r:id="rId5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>
          <p15:clr>
            <a:srgbClr val="F26B43"/>
          </p15:clr>
        </p15:guide>
        <p15:guide id="2" pos="7174">
          <p15:clr>
            <a:srgbClr val="F26B43"/>
          </p15:clr>
        </p15:guide>
        <p15:guide id="3" orient="horz" pos="686">
          <p15:clr>
            <a:srgbClr val="F26B43"/>
          </p15:clr>
        </p15:guide>
        <p15:guide id="4" orient="horz" pos="3906">
          <p15:clr>
            <a:srgbClr val="F26B43"/>
          </p15:clr>
        </p15:guide>
        <p15:guide id="6" orient="horz" pos="8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46.jpeg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45.jpe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88.bin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3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6.xml"/><Relationship Id="rId10" Type="http://schemas.openxmlformats.org/officeDocument/2006/relationships/image" Target="../media/image60.png"/><Relationship Id="rId9" Type="http://schemas.openxmlformats.org/officeDocument/2006/relationships/image" Target="../media/image160.svg"/><Relationship Id="rId14" Type="http://schemas.openxmlformats.org/officeDocument/2006/relationships/hyperlink" Target="https://asi.ru/projects/7267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61.emf"/><Relationship Id="rId4" Type="http://schemas.openxmlformats.org/officeDocument/2006/relationships/oleObject" Target="../embeddings/oleObject93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63.png"/><Relationship Id="rId5" Type="http://schemas.openxmlformats.org/officeDocument/2006/relationships/image" Target="../media/image62.emf"/><Relationship Id="rId4" Type="http://schemas.openxmlformats.org/officeDocument/2006/relationships/oleObject" Target="../embeddings/oleObject9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9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65.emf"/><Relationship Id="rId4" Type="http://schemas.openxmlformats.org/officeDocument/2006/relationships/oleObject" Target="../embeddings/oleObject96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8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67.png"/><Relationship Id="rId5" Type="http://schemas.openxmlformats.org/officeDocument/2006/relationships/image" Target="../media/image66.emf"/><Relationship Id="rId4" Type="http://schemas.openxmlformats.org/officeDocument/2006/relationships/oleObject" Target="../embeddings/oleObject97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2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71.png"/><Relationship Id="rId5" Type="http://schemas.openxmlformats.org/officeDocument/2006/relationships/image" Target="../media/image70.emf"/><Relationship Id="rId4" Type="http://schemas.openxmlformats.org/officeDocument/2006/relationships/oleObject" Target="../embeddings/oleObject9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75.jpg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hyperlink" Target="https://asi.ru/projects/7267/" TargetMode="External"/><Relationship Id="rId5" Type="http://schemas.openxmlformats.org/officeDocument/2006/relationships/image" Target="../media/image74.emf"/><Relationship Id="rId4" Type="http://schemas.openxmlformats.org/officeDocument/2006/relationships/oleObject" Target="../embeddings/oleObject9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76.jp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00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slideLayout" Target="../slideLayouts/slideLayout86.xml"/><Relationship Id="rId7" Type="http://schemas.openxmlformats.org/officeDocument/2006/relationships/image" Target="../media/image53.svg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49.png"/><Relationship Id="rId5" Type="http://schemas.openxmlformats.org/officeDocument/2006/relationships/image" Target="../media/image48.emf"/><Relationship Id="rId10" Type="http://schemas.openxmlformats.org/officeDocument/2006/relationships/image" Target="../media/image51.JPG"/><Relationship Id="rId4" Type="http://schemas.openxmlformats.org/officeDocument/2006/relationships/oleObject" Target="../embeddings/oleObject89.bin"/><Relationship Id="rId9" Type="http://schemas.openxmlformats.org/officeDocument/2006/relationships/image" Target="../media/image55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6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0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77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78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6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0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6" Type="http://schemas.openxmlformats.org/officeDocument/2006/relationships/chart" Target="../charts/chart7.xml"/><Relationship Id="rId5" Type="http://schemas.openxmlformats.org/officeDocument/2006/relationships/image" Target="../media/image79.emf"/><Relationship Id="rId4" Type="http://schemas.openxmlformats.org/officeDocument/2006/relationships/oleObject" Target="../embeddings/oleObject102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9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chart" Target="../charts/chart8.xml"/><Relationship Id="rId11" Type="http://schemas.openxmlformats.org/officeDocument/2006/relationships/image" Target="../media/image83.png"/><Relationship Id="rId5" Type="http://schemas.openxmlformats.org/officeDocument/2006/relationships/image" Target="../media/image80.emf"/><Relationship Id="rId10" Type="http://schemas.openxmlformats.org/officeDocument/2006/relationships/image" Target="../media/image82.png"/><Relationship Id="rId4" Type="http://schemas.openxmlformats.org/officeDocument/2006/relationships/oleObject" Target="../embeddings/oleObject103.bin"/><Relationship Id="rId9" Type="http://schemas.openxmlformats.org/officeDocument/2006/relationships/image" Target="../media/image8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6" Type="http://schemas.openxmlformats.org/officeDocument/2006/relationships/chart" Target="../charts/chart9.xml"/><Relationship Id="rId5" Type="http://schemas.openxmlformats.org/officeDocument/2006/relationships/image" Target="../media/image79.emf"/><Relationship Id="rId4" Type="http://schemas.openxmlformats.org/officeDocument/2006/relationships/oleObject" Target="../embeddings/oleObject10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6.png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0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6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55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chart" Target="../charts/chart1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6.png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53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9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8.png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57.png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6" Type="http://schemas.openxmlformats.org/officeDocument/2006/relationships/chart" Target="../charts/chart2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6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6" Type="http://schemas.openxmlformats.org/officeDocument/2006/relationships/chart" Target="../charts/chart5.x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9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C5F0B6A-2C83-9547-8091-0581D4A407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C5F0B6A-2C83-9547-8091-0581D4A40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09" y="629726"/>
            <a:ext cx="3672408" cy="113027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920" y="2137015"/>
            <a:ext cx="1657478" cy="712198"/>
          </a:xfrm>
          <a:prstGeom prst="rect">
            <a:avLst/>
          </a:prstGeom>
        </p:spPr>
      </p:pic>
      <p:sp>
        <p:nvSpPr>
          <p:cNvPr id="10" name="Подзаголовок 2"/>
          <p:cNvSpPr txBox="1">
            <a:spLocks/>
          </p:cNvSpPr>
          <p:nvPr/>
        </p:nvSpPr>
        <p:spPr>
          <a:xfrm>
            <a:off x="91909" y="5744159"/>
            <a:ext cx="4728200" cy="76931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47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Руководитель, ВКС                                    </a:t>
            </a:r>
            <a:r>
              <a:rPr lang="ru-RU" dirty="0" err="1"/>
              <a:t>В.В.Козулина</a:t>
            </a:r>
            <a:endParaRPr lang="ru-RU" dirty="0"/>
          </a:p>
          <a:p>
            <a:r>
              <a:rPr lang="ru-RU" dirty="0"/>
              <a:t>Выполнил слушатель </a:t>
            </a:r>
          </a:p>
          <a:p>
            <a:pPr marL="0" indent="0">
              <a:buNone/>
            </a:pPr>
            <a:r>
              <a:rPr lang="ru-RU" dirty="0"/>
              <a:t>    группы БШ-ПП09                                       </a:t>
            </a:r>
            <a:r>
              <a:rPr lang="ru-RU" dirty="0" err="1"/>
              <a:t>Н.Л.Шарипова</a:t>
            </a:r>
            <a:r>
              <a:rPr lang="ru-RU" dirty="0"/>
              <a:t> </a:t>
            </a:r>
          </a:p>
          <a:p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C7D54134-857C-1541-B50C-B74E314DA0C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31856" y="356339"/>
            <a:ext cx="1017705" cy="42866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981303" y="2265993"/>
            <a:ext cx="6644640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1000"/>
              </a:spcAft>
            </a:pPr>
            <a:r>
              <a:rPr lang="ru-RU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РАТЕГИЯ РАЗВИТИЯ КАДРОВОЙ ПОЛИТИКИ </a:t>
            </a:r>
            <a:endParaRPr lang="ru-RU" sz="14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1000"/>
              </a:spcAft>
            </a:pPr>
            <a:r>
              <a:rPr lang="ru-RU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АО УРАЛЭЛЕКТРОМЕДЬ  </a:t>
            </a:r>
            <a:endParaRPr lang="ru-RU" sz="14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1000"/>
              </a:spcAft>
            </a:pPr>
            <a:r>
              <a:rPr lang="ru-RU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ЗА СЧЕТ ПОДГОТОВКИ РАБОЧИХ КАДРОВ </a:t>
            </a:r>
            <a:endParaRPr lang="ru-RU" sz="1400" b="1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50000"/>
              </a:lnSpc>
              <a:spcAft>
                <a:spcPts val="1000"/>
              </a:spcAft>
            </a:pPr>
            <a:r>
              <a:rPr lang="ru-RU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НА ОСНОВЕ ДУАЛЬНОГО </a:t>
            </a:r>
            <a:r>
              <a:rPr lang="ru-RU" b="1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БРАЗОВАНИЯ</a:t>
            </a:r>
            <a:endParaRPr lang="ru-RU" sz="1400" b="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470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Группа 104">
            <a:extLst>
              <a:ext uri="{FF2B5EF4-FFF2-40B4-BE49-F238E27FC236}">
                <a16:creationId xmlns:a16="http://schemas.microsoft.com/office/drawing/2014/main" id="{B780D229-38AD-452D-8369-D07FEB0AA42A}"/>
              </a:ext>
            </a:extLst>
          </p:cNvPr>
          <p:cNvGrpSpPr/>
          <p:nvPr/>
        </p:nvGrpSpPr>
        <p:grpSpPr>
          <a:xfrm>
            <a:off x="2973357" y="1146960"/>
            <a:ext cx="7181923" cy="184666"/>
            <a:chOff x="3485237" y="1925460"/>
            <a:chExt cx="7181923" cy="184666"/>
          </a:xfrm>
        </p:grpSpPr>
        <p:cxnSp>
          <p:nvCxnSpPr>
            <p:cNvPr id="106" name="Straight Connector 206">
              <a:extLst>
                <a:ext uri="{FF2B5EF4-FFF2-40B4-BE49-F238E27FC236}">
                  <a16:creationId xmlns:a16="http://schemas.microsoft.com/office/drawing/2014/main" id="{4A91CD25-A3EA-4CBA-B9B2-056067AB722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85237" y="2022510"/>
              <a:ext cx="910797" cy="6953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07" name="Прямоугольник 106">
              <a:extLst>
                <a:ext uri="{FF2B5EF4-FFF2-40B4-BE49-F238E27FC236}">
                  <a16:creationId xmlns:a16="http://schemas.microsoft.com/office/drawing/2014/main" id="{AA9C18EB-DDFE-4A06-98FF-AC1C0F51236D}"/>
                </a:ext>
              </a:extLst>
            </p:cNvPr>
            <p:cNvSpPr/>
            <p:nvPr/>
          </p:nvSpPr>
          <p:spPr>
            <a:xfrm>
              <a:off x="4571160" y="1925460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48B94198-07C0-4BA2-AC63-8A645F28596A}"/>
              </a:ext>
            </a:extLst>
          </p:cNvPr>
          <p:cNvGrpSpPr/>
          <p:nvPr/>
        </p:nvGrpSpPr>
        <p:grpSpPr>
          <a:xfrm>
            <a:off x="4007408" y="2999123"/>
            <a:ext cx="6980947" cy="184666"/>
            <a:chOff x="3987001" y="3352212"/>
            <a:chExt cx="6980947" cy="184666"/>
          </a:xfrm>
        </p:grpSpPr>
        <p:cxnSp>
          <p:nvCxnSpPr>
            <p:cNvPr id="109" name="Straight Connector 206">
              <a:extLst>
                <a:ext uri="{FF2B5EF4-FFF2-40B4-BE49-F238E27FC236}">
                  <a16:creationId xmlns:a16="http://schemas.microsoft.com/office/drawing/2014/main" id="{D9705A89-D4B6-43BB-9408-3212E3E7A63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987001" y="3441077"/>
              <a:ext cx="722073" cy="5512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10" name="Прямоугольник 109">
              <a:extLst>
                <a:ext uri="{FF2B5EF4-FFF2-40B4-BE49-F238E27FC236}">
                  <a16:creationId xmlns:a16="http://schemas.microsoft.com/office/drawing/2014/main" id="{15B4076E-EB25-49CA-B73B-B7A38891B82D}"/>
                </a:ext>
              </a:extLst>
            </p:cNvPr>
            <p:cNvSpPr/>
            <p:nvPr/>
          </p:nvSpPr>
          <p:spPr>
            <a:xfrm>
              <a:off x="4871948" y="3352212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A60E8F9A-B888-42F8-B51A-EF380BFFC8A6}"/>
              </a:ext>
            </a:extLst>
          </p:cNvPr>
          <p:cNvGrpSpPr/>
          <p:nvPr/>
        </p:nvGrpSpPr>
        <p:grpSpPr>
          <a:xfrm>
            <a:off x="3873882" y="4331657"/>
            <a:ext cx="7066891" cy="254796"/>
            <a:chOff x="3901057" y="4148984"/>
            <a:chExt cx="7066891" cy="254796"/>
          </a:xfrm>
        </p:grpSpPr>
        <p:cxnSp>
          <p:nvCxnSpPr>
            <p:cNvPr id="112" name="Straight Connector 206">
              <a:extLst>
                <a:ext uri="{FF2B5EF4-FFF2-40B4-BE49-F238E27FC236}">
                  <a16:creationId xmlns:a16="http://schemas.microsoft.com/office/drawing/2014/main" id="{16333580-27BA-4D35-B5DA-0392112B1A9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901057" y="4148984"/>
              <a:ext cx="808017" cy="6168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13" name="Прямоугольник 112">
              <a:extLst>
                <a:ext uri="{FF2B5EF4-FFF2-40B4-BE49-F238E27FC236}">
                  <a16:creationId xmlns:a16="http://schemas.microsoft.com/office/drawing/2014/main" id="{9A6CB362-307B-4647-B74C-63EE05744AD9}"/>
                </a:ext>
              </a:extLst>
            </p:cNvPr>
            <p:cNvSpPr/>
            <p:nvPr/>
          </p:nvSpPr>
          <p:spPr>
            <a:xfrm>
              <a:off x="4871948" y="4219114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F1F6CD68-6E04-4EA2-8A4B-2050CAA9C2E3}"/>
              </a:ext>
            </a:extLst>
          </p:cNvPr>
          <p:cNvGrpSpPr/>
          <p:nvPr/>
        </p:nvGrpSpPr>
        <p:grpSpPr>
          <a:xfrm>
            <a:off x="3252486" y="5143475"/>
            <a:ext cx="7349937" cy="184666"/>
            <a:chOff x="3618011" y="4778964"/>
            <a:chExt cx="7349937" cy="184666"/>
          </a:xfrm>
        </p:grpSpPr>
        <p:cxnSp>
          <p:nvCxnSpPr>
            <p:cNvPr id="115" name="Straight Connector 206">
              <a:extLst>
                <a:ext uri="{FF2B5EF4-FFF2-40B4-BE49-F238E27FC236}">
                  <a16:creationId xmlns:a16="http://schemas.microsoft.com/office/drawing/2014/main" id="{136A570E-9BDE-4ADC-A2C4-73E48D50C22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618011" y="4855256"/>
              <a:ext cx="1108166" cy="8459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id="{B88F3EDD-0706-4E42-9FA5-008255D36A2C}"/>
                </a:ext>
              </a:extLst>
            </p:cNvPr>
            <p:cNvSpPr/>
            <p:nvPr/>
          </p:nvSpPr>
          <p:spPr>
            <a:xfrm>
              <a:off x="4871948" y="4778964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B442FDF4-2DA3-4ADD-9AE8-45CFC1671F45}"/>
              </a:ext>
            </a:extLst>
          </p:cNvPr>
          <p:cNvGrpSpPr/>
          <p:nvPr/>
        </p:nvGrpSpPr>
        <p:grpSpPr>
          <a:xfrm>
            <a:off x="2455661" y="5895279"/>
            <a:ext cx="4884767" cy="217345"/>
            <a:chOff x="2914664" y="5492338"/>
            <a:chExt cx="7752496" cy="184666"/>
          </a:xfrm>
        </p:grpSpPr>
        <p:cxnSp>
          <p:nvCxnSpPr>
            <p:cNvPr id="118" name="Straight Connector 206">
              <a:extLst>
                <a:ext uri="{FF2B5EF4-FFF2-40B4-BE49-F238E27FC236}">
                  <a16:creationId xmlns:a16="http://schemas.microsoft.com/office/drawing/2014/main" id="{8F78C4AB-27F4-47BC-8913-86C3722947A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14664" y="5560609"/>
              <a:ext cx="1512000" cy="24062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19" name="Прямоугольник 118">
              <a:extLst>
                <a:ext uri="{FF2B5EF4-FFF2-40B4-BE49-F238E27FC236}">
                  <a16:creationId xmlns:a16="http://schemas.microsoft.com/office/drawing/2014/main" id="{6651DA5B-FB79-4356-A83E-278862D5C109}"/>
                </a:ext>
              </a:extLst>
            </p:cNvPr>
            <p:cNvSpPr/>
            <p:nvPr/>
          </p:nvSpPr>
          <p:spPr>
            <a:xfrm>
              <a:off x="4571160" y="5492338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54EA2899-A390-45DF-B6AB-A7409B94B4D9}"/>
              </a:ext>
            </a:extLst>
          </p:cNvPr>
          <p:cNvGrpSpPr/>
          <p:nvPr/>
        </p:nvGrpSpPr>
        <p:grpSpPr>
          <a:xfrm>
            <a:off x="3614691" y="1953254"/>
            <a:ext cx="7146142" cy="184666"/>
            <a:chOff x="3821806" y="2638836"/>
            <a:chExt cx="7146142" cy="184666"/>
          </a:xfrm>
        </p:grpSpPr>
        <p:cxnSp>
          <p:nvCxnSpPr>
            <p:cNvPr id="121" name="Straight Connector 206">
              <a:extLst>
                <a:ext uri="{FF2B5EF4-FFF2-40B4-BE49-F238E27FC236}">
                  <a16:creationId xmlns:a16="http://schemas.microsoft.com/office/drawing/2014/main" id="{4499EC1E-67EC-4FFA-9248-14CF05F66C9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821806" y="2731122"/>
              <a:ext cx="904371" cy="6904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75000"/>
                </a:srgbClr>
              </a:solidFill>
              <a:prstDash val="solid"/>
              <a:miter lim="800000"/>
            </a:ln>
            <a:effectLst/>
          </p:spPr>
        </p:cxnSp>
        <p:sp>
          <p:nvSpPr>
            <p:cNvPr id="122" name="Прямоугольник 121">
              <a:extLst>
                <a:ext uri="{FF2B5EF4-FFF2-40B4-BE49-F238E27FC236}">
                  <a16:creationId xmlns:a16="http://schemas.microsoft.com/office/drawing/2014/main" id="{582BAFC6-430E-4CA8-BB83-219EA2EDEE81}"/>
                </a:ext>
              </a:extLst>
            </p:cNvPr>
            <p:cNvSpPr/>
            <p:nvPr/>
          </p:nvSpPr>
          <p:spPr>
            <a:xfrm>
              <a:off x="4871948" y="2638836"/>
              <a:ext cx="6096000" cy="184666"/>
            </a:xfrm>
            <a:prstGeom prst="rect">
              <a:avLst/>
            </a:prstGeom>
          </p:spPr>
          <p:txBody>
            <a:bodyPr lIns="0" tIns="0" rIns="0" bIns="0" anchor="ctr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rgbClr val="EB8B2D"/>
                </a:buClr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0DCF3B6D-19BB-4693-97FC-A8CB6223E5EE}"/>
              </a:ext>
            </a:extLst>
          </p:cNvPr>
          <p:cNvGrpSpPr/>
          <p:nvPr/>
        </p:nvGrpSpPr>
        <p:grpSpPr>
          <a:xfrm>
            <a:off x="-68580" y="978063"/>
            <a:ext cx="4009094" cy="5148000"/>
            <a:chOff x="-68580" y="978063"/>
            <a:chExt cx="4009094" cy="5148000"/>
          </a:xfrm>
        </p:grpSpPr>
        <p:sp>
          <p:nvSpPr>
            <p:cNvPr id="124" name="Полилиния 55">
              <a:extLst>
                <a:ext uri="{FF2B5EF4-FFF2-40B4-BE49-F238E27FC236}">
                  <a16:creationId xmlns:a16="http://schemas.microsoft.com/office/drawing/2014/main" id="{877A5DA7-0488-4A72-A203-6546AC4D1684}"/>
                </a:ext>
              </a:extLst>
            </p:cNvPr>
            <p:cNvSpPr>
              <a:spLocks/>
            </p:cNvSpPr>
            <p:nvPr/>
          </p:nvSpPr>
          <p:spPr>
            <a:xfrm>
              <a:off x="-68579" y="978063"/>
              <a:ext cx="4009093" cy="5148000"/>
            </a:xfrm>
            <a:custGeom>
              <a:avLst/>
              <a:gdLst>
                <a:gd name="connsiteX0" fmla="*/ 1435093 w 4009093"/>
                <a:gd name="connsiteY0" fmla="*/ 0 h 5148000"/>
                <a:gd name="connsiteX1" fmla="*/ 4009093 w 4009093"/>
                <a:gd name="connsiteY1" fmla="*/ 2574000 h 5148000"/>
                <a:gd name="connsiteX2" fmla="*/ 1435093 w 4009093"/>
                <a:gd name="connsiteY2" fmla="*/ 5148000 h 5148000"/>
                <a:gd name="connsiteX3" fmla="*/ 208172 w 4009093"/>
                <a:gd name="connsiteY3" fmla="*/ 4837332 h 5148000"/>
                <a:gd name="connsiteX4" fmla="*/ 0 w 4009093"/>
                <a:gd name="connsiteY4" fmla="*/ 4710865 h 5148000"/>
                <a:gd name="connsiteX5" fmla="*/ 0 w 4009093"/>
                <a:gd name="connsiteY5" fmla="*/ 437136 h 5148000"/>
                <a:gd name="connsiteX6" fmla="*/ 208172 w 4009093"/>
                <a:gd name="connsiteY6" fmla="*/ 310668 h 5148000"/>
                <a:gd name="connsiteX7" fmla="*/ 1435093 w 4009093"/>
                <a:gd name="connsiteY7" fmla="*/ 0 h 5148000"/>
                <a:gd name="connsiteX0" fmla="*/ 0 w 4009093"/>
                <a:gd name="connsiteY0" fmla="*/ 437136 h 5148000"/>
                <a:gd name="connsiteX1" fmla="*/ 208172 w 4009093"/>
                <a:gd name="connsiteY1" fmla="*/ 310668 h 5148000"/>
                <a:gd name="connsiteX2" fmla="*/ 1435093 w 4009093"/>
                <a:gd name="connsiteY2" fmla="*/ 0 h 5148000"/>
                <a:gd name="connsiteX3" fmla="*/ 4009093 w 4009093"/>
                <a:gd name="connsiteY3" fmla="*/ 2574000 h 5148000"/>
                <a:gd name="connsiteX4" fmla="*/ 1435093 w 4009093"/>
                <a:gd name="connsiteY4" fmla="*/ 5148000 h 5148000"/>
                <a:gd name="connsiteX5" fmla="*/ 208172 w 4009093"/>
                <a:gd name="connsiteY5" fmla="*/ 4837332 h 5148000"/>
                <a:gd name="connsiteX6" fmla="*/ 0 w 4009093"/>
                <a:gd name="connsiteY6" fmla="*/ 4710865 h 5148000"/>
                <a:gd name="connsiteX7" fmla="*/ 91440 w 4009093"/>
                <a:gd name="connsiteY7" fmla="*/ 528576 h 5148000"/>
                <a:gd name="connsiteX0" fmla="*/ 0 w 4009093"/>
                <a:gd name="connsiteY0" fmla="*/ 437136 h 5148000"/>
                <a:gd name="connsiteX1" fmla="*/ 208172 w 4009093"/>
                <a:gd name="connsiteY1" fmla="*/ 310668 h 5148000"/>
                <a:gd name="connsiteX2" fmla="*/ 1435093 w 4009093"/>
                <a:gd name="connsiteY2" fmla="*/ 0 h 5148000"/>
                <a:gd name="connsiteX3" fmla="*/ 4009093 w 4009093"/>
                <a:gd name="connsiteY3" fmla="*/ 2574000 h 5148000"/>
                <a:gd name="connsiteX4" fmla="*/ 1435093 w 4009093"/>
                <a:gd name="connsiteY4" fmla="*/ 5148000 h 5148000"/>
                <a:gd name="connsiteX5" fmla="*/ 208172 w 4009093"/>
                <a:gd name="connsiteY5" fmla="*/ 4837332 h 5148000"/>
                <a:gd name="connsiteX6" fmla="*/ 0 w 4009093"/>
                <a:gd name="connsiteY6" fmla="*/ 4710865 h 514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9093" h="5148000">
                  <a:moveTo>
                    <a:pt x="0" y="437136"/>
                  </a:moveTo>
                  <a:lnTo>
                    <a:pt x="208172" y="310668"/>
                  </a:lnTo>
                  <a:cubicBezTo>
                    <a:pt x="572890" y="112541"/>
                    <a:pt x="990849" y="0"/>
                    <a:pt x="1435093" y="0"/>
                  </a:cubicBezTo>
                  <a:cubicBezTo>
                    <a:pt x="2856674" y="0"/>
                    <a:pt x="4009093" y="1152419"/>
                    <a:pt x="4009093" y="2574000"/>
                  </a:cubicBezTo>
                  <a:cubicBezTo>
                    <a:pt x="4009093" y="3995581"/>
                    <a:pt x="2856674" y="5148000"/>
                    <a:pt x="1435093" y="5148000"/>
                  </a:cubicBezTo>
                  <a:cubicBezTo>
                    <a:pt x="990849" y="5148000"/>
                    <a:pt x="572890" y="5035459"/>
                    <a:pt x="208172" y="4837332"/>
                  </a:cubicBezTo>
                  <a:lnTo>
                    <a:pt x="0" y="4710865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152400" cap="flat" cmpd="sng" algn="ctr">
              <a:solidFill>
                <a:srgbClr val="EB8B2D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5" name="Полилиния 57">
              <a:extLst>
                <a:ext uri="{FF2B5EF4-FFF2-40B4-BE49-F238E27FC236}">
                  <a16:creationId xmlns:a16="http://schemas.microsoft.com/office/drawing/2014/main" id="{11A5122A-C62E-4C93-BA2A-DDD1F0D2C598}"/>
                </a:ext>
              </a:extLst>
            </p:cNvPr>
            <p:cNvSpPr/>
            <p:nvPr/>
          </p:nvSpPr>
          <p:spPr>
            <a:xfrm>
              <a:off x="-68580" y="1590255"/>
              <a:ext cx="3396902" cy="3923616"/>
            </a:xfrm>
            <a:custGeom>
              <a:avLst/>
              <a:gdLst>
                <a:gd name="connsiteX0" fmla="*/ 1435094 w 3396902"/>
                <a:gd name="connsiteY0" fmla="*/ 0 h 3923616"/>
                <a:gd name="connsiteX1" fmla="*/ 3396902 w 3396902"/>
                <a:gd name="connsiteY1" fmla="*/ 1961808 h 3923616"/>
                <a:gd name="connsiteX2" fmla="*/ 1435094 w 3396902"/>
                <a:gd name="connsiteY2" fmla="*/ 3923616 h 3923616"/>
                <a:gd name="connsiteX3" fmla="*/ 47886 w 3396902"/>
                <a:gd name="connsiteY3" fmla="*/ 3349016 h 3923616"/>
                <a:gd name="connsiteX4" fmla="*/ 0 w 3396902"/>
                <a:gd name="connsiteY4" fmla="*/ 3296328 h 3923616"/>
                <a:gd name="connsiteX5" fmla="*/ 0 w 3396902"/>
                <a:gd name="connsiteY5" fmla="*/ 627288 h 3923616"/>
                <a:gd name="connsiteX6" fmla="*/ 47886 w 3396902"/>
                <a:gd name="connsiteY6" fmla="*/ 574600 h 3923616"/>
                <a:gd name="connsiteX7" fmla="*/ 1435094 w 3396902"/>
                <a:gd name="connsiteY7" fmla="*/ 0 h 3923616"/>
                <a:gd name="connsiteX0" fmla="*/ 0 w 3396902"/>
                <a:gd name="connsiteY0" fmla="*/ 627288 h 3923616"/>
                <a:gd name="connsiteX1" fmla="*/ 47886 w 3396902"/>
                <a:gd name="connsiteY1" fmla="*/ 574600 h 3923616"/>
                <a:gd name="connsiteX2" fmla="*/ 1435094 w 3396902"/>
                <a:gd name="connsiteY2" fmla="*/ 0 h 3923616"/>
                <a:gd name="connsiteX3" fmla="*/ 3396902 w 3396902"/>
                <a:gd name="connsiteY3" fmla="*/ 1961808 h 3923616"/>
                <a:gd name="connsiteX4" fmla="*/ 1435094 w 3396902"/>
                <a:gd name="connsiteY4" fmla="*/ 3923616 h 3923616"/>
                <a:gd name="connsiteX5" fmla="*/ 47886 w 3396902"/>
                <a:gd name="connsiteY5" fmla="*/ 3349016 h 3923616"/>
                <a:gd name="connsiteX6" fmla="*/ 0 w 3396902"/>
                <a:gd name="connsiteY6" fmla="*/ 3296328 h 3923616"/>
                <a:gd name="connsiteX7" fmla="*/ 91440 w 3396902"/>
                <a:gd name="connsiteY7" fmla="*/ 718728 h 3923616"/>
                <a:gd name="connsiteX0" fmla="*/ 0 w 3396902"/>
                <a:gd name="connsiteY0" fmla="*/ 627288 h 3923616"/>
                <a:gd name="connsiteX1" fmla="*/ 47886 w 3396902"/>
                <a:gd name="connsiteY1" fmla="*/ 574600 h 3923616"/>
                <a:gd name="connsiteX2" fmla="*/ 1435094 w 3396902"/>
                <a:gd name="connsiteY2" fmla="*/ 0 h 3923616"/>
                <a:gd name="connsiteX3" fmla="*/ 3396902 w 3396902"/>
                <a:gd name="connsiteY3" fmla="*/ 1961808 h 3923616"/>
                <a:gd name="connsiteX4" fmla="*/ 1435094 w 3396902"/>
                <a:gd name="connsiteY4" fmla="*/ 3923616 h 3923616"/>
                <a:gd name="connsiteX5" fmla="*/ 47886 w 3396902"/>
                <a:gd name="connsiteY5" fmla="*/ 3349016 h 3923616"/>
                <a:gd name="connsiteX6" fmla="*/ 0 w 3396902"/>
                <a:gd name="connsiteY6" fmla="*/ 3296328 h 39236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96902" h="3923616">
                  <a:moveTo>
                    <a:pt x="0" y="627288"/>
                  </a:moveTo>
                  <a:lnTo>
                    <a:pt x="47886" y="574600"/>
                  </a:lnTo>
                  <a:cubicBezTo>
                    <a:pt x="402904" y="219583"/>
                    <a:pt x="893356" y="0"/>
                    <a:pt x="1435094" y="0"/>
                  </a:cubicBezTo>
                  <a:cubicBezTo>
                    <a:pt x="2518571" y="0"/>
                    <a:pt x="3396902" y="878331"/>
                    <a:pt x="3396902" y="1961808"/>
                  </a:cubicBezTo>
                  <a:cubicBezTo>
                    <a:pt x="3396902" y="3045285"/>
                    <a:pt x="2518571" y="3923616"/>
                    <a:pt x="1435094" y="3923616"/>
                  </a:cubicBezTo>
                  <a:cubicBezTo>
                    <a:pt x="893356" y="3923616"/>
                    <a:pt x="402904" y="3704033"/>
                    <a:pt x="47886" y="3349016"/>
                  </a:cubicBezTo>
                  <a:lnTo>
                    <a:pt x="0" y="3296328"/>
                  </a:lnTo>
                </a:path>
              </a:pathLst>
            </a:custGeom>
            <a:solidFill>
              <a:srgbClr val="FFFFFF">
                <a:lumMod val="95000"/>
              </a:srgbClr>
            </a:solidFill>
            <a:ln w="152400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6" name="Овал 125">
              <a:extLst>
                <a:ext uri="{FF2B5EF4-FFF2-40B4-BE49-F238E27FC236}">
                  <a16:creationId xmlns:a16="http://schemas.microsoft.com/office/drawing/2014/main" id="{00C48EA1-29D1-4A36-A849-8FAB2A4C1469}"/>
                </a:ext>
              </a:extLst>
            </p:cNvPr>
            <p:cNvSpPr/>
            <p:nvPr/>
          </p:nvSpPr>
          <p:spPr>
            <a:xfrm>
              <a:off x="6955" y="2192505"/>
              <a:ext cx="2719117" cy="2719117"/>
            </a:xfrm>
            <a:prstGeom prst="ellipse">
              <a:avLst/>
            </a:prstGeom>
            <a:solidFill>
              <a:srgbClr val="FFFFFF">
                <a:lumMod val="95000"/>
              </a:srgbClr>
            </a:solidFill>
            <a:ln w="152400" cap="flat" cmpd="sng" algn="ctr">
              <a:solidFill>
                <a:srgbClr val="88192B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7" name="Овал 126">
              <a:extLst>
                <a:ext uri="{FF2B5EF4-FFF2-40B4-BE49-F238E27FC236}">
                  <a16:creationId xmlns:a16="http://schemas.microsoft.com/office/drawing/2014/main" id="{460DB07E-0E22-4677-85A9-BC9FEC8998D7}"/>
                </a:ext>
              </a:extLst>
            </p:cNvPr>
            <p:cNvSpPr/>
            <p:nvPr/>
          </p:nvSpPr>
          <p:spPr>
            <a:xfrm>
              <a:off x="897662" y="3083212"/>
              <a:ext cx="937702" cy="937702"/>
            </a:xfrm>
            <a:prstGeom prst="ellipse">
              <a:avLst/>
            </a:prstGeom>
            <a:solidFill>
              <a:srgbClr val="88192B"/>
            </a:solidFill>
            <a:ln w="1524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28" name="Группа 127">
              <a:extLst>
                <a:ext uri="{FF2B5EF4-FFF2-40B4-BE49-F238E27FC236}">
                  <a16:creationId xmlns:a16="http://schemas.microsoft.com/office/drawing/2014/main" id="{A5A451CC-0824-48D0-B33F-D79506FBA75F}"/>
                </a:ext>
              </a:extLst>
            </p:cNvPr>
            <p:cNvGrpSpPr/>
            <p:nvPr/>
          </p:nvGrpSpPr>
          <p:grpSpPr>
            <a:xfrm>
              <a:off x="594936" y="2631397"/>
              <a:ext cx="875486" cy="1024575"/>
              <a:chOff x="663516" y="2631397"/>
              <a:chExt cx="875486" cy="1024575"/>
            </a:xfrm>
          </p:grpSpPr>
          <p:cxnSp>
            <p:nvCxnSpPr>
              <p:cNvPr id="129" name="Прямая соединительная линия 128">
                <a:extLst>
                  <a:ext uri="{FF2B5EF4-FFF2-40B4-BE49-F238E27FC236}">
                    <a16:creationId xmlns:a16="http://schemas.microsoft.com/office/drawing/2014/main" id="{F0C93430-AA6F-4EA1-8192-4C304B6B22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4199" y="2914674"/>
                <a:ext cx="337304" cy="558127"/>
              </a:xfrm>
              <a:prstGeom prst="line">
                <a:avLst/>
              </a:prstGeom>
              <a:noFill/>
              <a:ln w="114300" cap="sq" cmpd="sng" algn="ctr">
                <a:solidFill>
                  <a:srgbClr val="EB8B2D"/>
                </a:solidFill>
                <a:prstDash val="solid"/>
                <a:bevel/>
              </a:ln>
              <a:effectLst/>
            </p:spPr>
          </p:cxnSp>
          <p:grpSp>
            <p:nvGrpSpPr>
              <p:cNvPr id="130" name="Группа 129">
                <a:extLst>
                  <a:ext uri="{FF2B5EF4-FFF2-40B4-BE49-F238E27FC236}">
                    <a16:creationId xmlns:a16="http://schemas.microsoft.com/office/drawing/2014/main" id="{DAADB29E-17DA-478A-9AE2-358738F0499D}"/>
                  </a:ext>
                </a:extLst>
              </p:cNvPr>
              <p:cNvGrpSpPr/>
              <p:nvPr/>
            </p:nvGrpSpPr>
            <p:grpSpPr>
              <a:xfrm rot="9000000">
                <a:off x="663516" y="2631397"/>
                <a:ext cx="684389" cy="495694"/>
                <a:chOff x="1433528" y="4172580"/>
                <a:chExt cx="371579" cy="269130"/>
              </a:xfrm>
            </p:grpSpPr>
            <p:sp>
              <p:nvSpPr>
                <p:cNvPr id="132" name="Нашивка 27">
                  <a:extLst>
                    <a:ext uri="{FF2B5EF4-FFF2-40B4-BE49-F238E27FC236}">
                      <a16:creationId xmlns:a16="http://schemas.microsoft.com/office/drawing/2014/main" id="{9CD4F309-6D90-4D78-9BCE-4143CE788821}"/>
                    </a:ext>
                  </a:extLst>
                </p:cNvPr>
                <p:cNvSpPr/>
                <p:nvPr/>
              </p:nvSpPr>
              <p:spPr>
                <a:xfrm rot="16200000">
                  <a:off x="1529622" y="4076486"/>
                  <a:ext cx="179390" cy="371578"/>
                </a:xfrm>
                <a:prstGeom prst="chevron">
                  <a:avLst/>
                </a:prstGeom>
                <a:solidFill>
                  <a:srgbClr val="EB8B2D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3" name="Нашивка 28">
                  <a:extLst>
                    <a:ext uri="{FF2B5EF4-FFF2-40B4-BE49-F238E27FC236}">
                      <a16:creationId xmlns:a16="http://schemas.microsoft.com/office/drawing/2014/main" id="{F253DA35-5FA1-48E1-9296-380E77AB2444}"/>
                    </a:ext>
                  </a:extLst>
                </p:cNvPr>
                <p:cNvSpPr/>
                <p:nvPr/>
              </p:nvSpPr>
              <p:spPr>
                <a:xfrm rot="16200000">
                  <a:off x="1529576" y="4166180"/>
                  <a:ext cx="179483" cy="371578"/>
                </a:xfrm>
                <a:prstGeom prst="chevron">
                  <a:avLst/>
                </a:prstGeom>
                <a:solidFill>
                  <a:srgbClr val="CD441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1" name="Овал 130">
                <a:extLst>
                  <a:ext uri="{FF2B5EF4-FFF2-40B4-BE49-F238E27FC236}">
                    <a16:creationId xmlns:a16="http://schemas.microsoft.com/office/drawing/2014/main" id="{60394C73-5849-451B-8906-6C445609095E}"/>
                  </a:ext>
                </a:extLst>
              </p:cNvPr>
              <p:cNvSpPr/>
              <p:nvPr/>
            </p:nvSpPr>
            <p:spPr>
              <a:xfrm>
                <a:off x="1331184" y="3448154"/>
                <a:ext cx="207818" cy="207818"/>
              </a:xfrm>
              <a:prstGeom prst="ellipse">
                <a:avLst/>
              </a:prstGeom>
              <a:solidFill>
                <a:srgbClr val="EB8B2D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id="{6042A215-52B0-4416-9545-37638A8D9742}"/>
              </a:ext>
            </a:extLst>
          </p:cNvPr>
          <p:cNvSpPr/>
          <p:nvPr/>
        </p:nvSpPr>
        <p:spPr>
          <a:xfrm>
            <a:off x="1493725" y="182545"/>
            <a:ext cx="3239669" cy="55399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B8B2D"/>
              </a:buClr>
              <a:buSzTx/>
              <a:buFontTx/>
              <a:buNone/>
              <a:tabLst/>
              <a:defRPr/>
            </a:pPr>
            <a:r>
              <a:rPr lang="ru-RU" sz="3600" b="1" kern="0" dirty="0" smtClean="0">
                <a:solidFill>
                  <a:srgbClr val="EB8B2D"/>
                </a:solidFill>
              </a:rPr>
              <a:t>Цели проекта </a:t>
            </a:r>
            <a:endParaRPr kumimoji="0" lang="ru-RU" sz="3600" b="1" i="0" u="none" strike="noStrike" kern="0" cap="none" spc="0" normalizeH="0" baseline="0" noProof="0" dirty="0">
              <a:ln>
                <a:noFill/>
              </a:ln>
              <a:solidFill>
                <a:srgbClr val="EB8B2D"/>
              </a:solidFill>
              <a:effectLst/>
              <a:uLnTx/>
              <a:uFillTx/>
            </a:endParaRPr>
          </a:p>
        </p:txBody>
      </p:sp>
      <p:grpSp>
        <p:nvGrpSpPr>
          <p:cNvPr id="144" name="Группа 143">
            <a:extLst>
              <a:ext uri="{FF2B5EF4-FFF2-40B4-BE49-F238E27FC236}">
                <a16:creationId xmlns:a16="http://schemas.microsoft.com/office/drawing/2014/main" id="{1DCB2EED-9D4B-4422-AAF3-ED8B358DFBAA}"/>
              </a:ext>
            </a:extLst>
          </p:cNvPr>
          <p:cNvGrpSpPr/>
          <p:nvPr/>
        </p:nvGrpSpPr>
        <p:grpSpPr>
          <a:xfrm>
            <a:off x="1703945" y="5477240"/>
            <a:ext cx="741386" cy="777838"/>
            <a:chOff x="3334966" y="4613288"/>
            <a:chExt cx="566091" cy="566091"/>
          </a:xfrm>
          <a:solidFill>
            <a:srgbClr val="FFFFFF"/>
          </a:solidFill>
        </p:grpSpPr>
        <p:sp>
          <p:nvSpPr>
            <p:cNvPr id="145" name="Овал 144">
              <a:extLst>
                <a:ext uri="{FF2B5EF4-FFF2-40B4-BE49-F238E27FC236}">
                  <a16:creationId xmlns:a16="http://schemas.microsoft.com/office/drawing/2014/main" id="{87E99359-B63D-4F7A-858C-F79B0C86F94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34966" y="4613288"/>
              <a:ext cx="566091" cy="566091"/>
            </a:xfrm>
            <a:prstGeom prst="ellipse">
              <a:avLst/>
            </a:prstGeom>
            <a:grpFill/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46" name="Рисунок 145">
              <a:extLst>
                <a:ext uri="{FF2B5EF4-FFF2-40B4-BE49-F238E27FC236}">
                  <a16:creationId xmlns:a16="http://schemas.microsoft.com/office/drawing/2014/main" id="{79E62451-620B-476D-BD59-6AC22339F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3438011" y="4715705"/>
              <a:ext cx="360000" cy="360000"/>
            </a:xfrm>
            <a:prstGeom prst="rect">
              <a:avLst/>
            </a:prstGeom>
          </p:spPr>
        </p:pic>
      </p:grp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13D1E3C7-D24B-478F-A661-2867F64EB64F}"/>
              </a:ext>
            </a:extLst>
          </p:cNvPr>
          <p:cNvGrpSpPr/>
          <p:nvPr/>
        </p:nvGrpSpPr>
        <p:grpSpPr>
          <a:xfrm>
            <a:off x="2231972" y="860544"/>
            <a:ext cx="707437" cy="693553"/>
            <a:chOff x="3538761" y="2396301"/>
            <a:chExt cx="566091" cy="566091"/>
          </a:xfrm>
          <a:solidFill>
            <a:srgbClr val="FFFFFF"/>
          </a:solidFill>
        </p:grpSpPr>
        <p:sp>
          <p:nvSpPr>
            <p:cNvPr id="151" name="Овал 150">
              <a:extLst>
                <a:ext uri="{FF2B5EF4-FFF2-40B4-BE49-F238E27FC236}">
                  <a16:creationId xmlns:a16="http://schemas.microsoft.com/office/drawing/2014/main" id="{50D78A92-79BB-43A4-8CA5-327B69D53F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38761" y="2396301"/>
              <a:ext cx="566091" cy="566091"/>
            </a:xfrm>
            <a:prstGeom prst="ellipse">
              <a:avLst/>
            </a:prstGeom>
            <a:grpFill/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2" name="Рисунок 151">
              <a:extLst>
                <a:ext uri="{FF2B5EF4-FFF2-40B4-BE49-F238E27FC236}">
                  <a16:creationId xmlns:a16="http://schemas.microsoft.com/office/drawing/2014/main" id="{51FB1A20-46FF-4BC9-8486-6872ECE8FA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3641806" y="2513821"/>
              <a:ext cx="360000" cy="360000"/>
            </a:xfrm>
            <a:prstGeom prst="rect">
              <a:avLst/>
            </a:prstGeom>
          </p:spPr>
        </p:pic>
      </p:grpSp>
      <p:sp>
        <p:nvSpPr>
          <p:cNvPr id="2" name="Прямоугольник 1"/>
          <p:cNvSpPr/>
          <p:nvPr/>
        </p:nvSpPr>
        <p:spPr>
          <a:xfrm>
            <a:off x="3918102" y="823543"/>
            <a:ext cx="7697785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Реализация системного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а 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Подготовка рабочих кадров, соответствующих требованиям высокотехнологичных отраслей промышленности, на основе дуальног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образования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змер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финансирования 250 мл рублей 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  <a:hlinkClick r:id="rId14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14438" y="1634460"/>
            <a:ext cx="7456803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беспечить  стабилизацию рынка труда КГО Кировград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с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иже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численности безработных граждан в возрасте 18-24 лет на 30 %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т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меньшение оттока населения из КГО Кировград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-сниже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были численности населения на 2%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44773" y="2642734"/>
            <a:ext cx="7424555" cy="1208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ть доступность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ачественного профессионального образования по востребованным профессиям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6 специальностей после 9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ласса,   4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пециальности после 11 класса 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ть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арантированное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о на градообразующие предприятия после обучения в СПО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– 2 договора о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оц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партнерстве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33394" y="3933650"/>
            <a:ext cx="7458606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лучшение материально-технической базы колледж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</a:p>
          <a:p>
            <a:pPr lvl="0"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ащение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астерских п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етенциям: Электромонтаж; Порошково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еталлургии;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Гидрометаллургических процессов; Физико-химических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оцессов и синтеза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94821" y="4866554"/>
            <a:ext cx="7965686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величение удельного веса численности выпускников образовательного учреждения очной формы обучения, трудоустроившихся в течение года после окончания по полученной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пециальности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на 50 % от текущего состояния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45040" y="5688111"/>
            <a:ext cx="9276552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производительности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труда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–по филиалу на 2% 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год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остигнув уровня повышения производительности труда за период 2023-2028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10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%  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текучести персонала 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10 % ежегодно за период 2023-2028 </a:t>
            </a:r>
            <a:r>
              <a:rPr 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г.г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eaLnBrk="0" fontAlgn="base" hangingPunct="0">
              <a:spcBef>
                <a:spcPct val="0"/>
              </a:spcBef>
              <a:spcAft>
                <a:spcPts val="300"/>
              </a:spcAft>
              <a:buClr>
                <a:schemeClr val="accent1"/>
              </a:buClr>
              <a:defRPr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7CE4CBF3-92F4-47A4-8E11-9110D1FA333C}"/>
              </a:ext>
            </a:extLst>
          </p:cNvPr>
          <p:cNvGrpSpPr/>
          <p:nvPr/>
        </p:nvGrpSpPr>
        <p:grpSpPr>
          <a:xfrm>
            <a:off x="2860037" y="1643131"/>
            <a:ext cx="702710" cy="748970"/>
            <a:chOff x="3551316" y="2873137"/>
            <a:chExt cx="550305" cy="550305"/>
          </a:xfrm>
        </p:grpSpPr>
        <p:sp>
          <p:nvSpPr>
            <p:cNvPr id="58" name="Овал 57">
              <a:extLst>
                <a:ext uri="{FF2B5EF4-FFF2-40B4-BE49-F238E27FC236}">
                  <a16:creationId xmlns:a16="http://schemas.microsoft.com/office/drawing/2014/main" id="{223C2A8D-38B7-4B87-ADDE-1262CA736C10}"/>
                </a:ext>
              </a:extLst>
            </p:cNvPr>
            <p:cNvSpPr/>
            <p:nvPr/>
          </p:nvSpPr>
          <p:spPr>
            <a:xfrm>
              <a:off x="3551316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60" name="Рисунок 63">
              <a:extLst>
                <a:ext uri="{FF2B5EF4-FFF2-40B4-BE49-F238E27FC236}">
                  <a16:creationId xmlns:a16="http://schemas.microsoft.com/office/drawing/2014/main" id="{2198C4B7-541E-4FBF-8048-7C0A5DE9008B}"/>
                </a:ext>
              </a:extLst>
            </p:cNvPr>
            <p:cNvGrpSpPr/>
            <p:nvPr/>
          </p:nvGrpSpPr>
          <p:grpSpPr>
            <a:xfrm>
              <a:off x="3668806" y="3001114"/>
              <a:ext cx="316768" cy="295433"/>
              <a:chOff x="3668806" y="3001114"/>
              <a:chExt cx="316768" cy="295433"/>
            </a:xfrm>
            <a:solidFill>
              <a:srgbClr val="231F20"/>
            </a:solidFill>
          </p:grpSpPr>
          <p:sp>
            <p:nvSpPr>
              <p:cNvPr id="61" name="Рисунок 63">
                <a:extLst>
                  <a:ext uri="{FF2B5EF4-FFF2-40B4-BE49-F238E27FC236}">
                    <a16:creationId xmlns:a16="http://schemas.microsoft.com/office/drawing/2014/main" id="{D73C8D0D-F379-45CB-B648-00811BF3B64D}"/>
                  </a:ext>
                </a:extLst>
              </p:cNvPr>
              <p:cNvSpPr/>
              <p:nvPr/>
            </p:nvSpPr>
            <p:spPr>
              <a:xfrm>
                <a:off x="3775481" y="3072351"/>
                <a:ext cx="103781" cy="56410"/>
              </a:xfrm>
              <a:custGeom>
                <a:avLst/>
                <a:gdLst>
                  <a:gd name="connsiteX0" fmla="*/ 52072 w 103781"/>
                  <a:gd name="connsiteY0" fmla="*/ 0 h 56410"/>
                  <a:gd name="connsiteX1" fmla="*/ 0 w 103781"/>
                  <a:gd name="connsiteY1" fmla="*/ 48094 h 56410"/>
                  <a:gd name="connsiteX2" fmla="*/ 362 w 103781"/>
                  <a:gd name="connsiteY2" fmla="*/ 52072 h 56410"/>
                  <a:gd name="connsiteX3" fmla="*/ 5786 w 103781"/>
                  <a:gd name="connsiteY3" fmla="*/ 56411 h 56410"/>
                  <a:gd name="connsiteX4" fmla="*/ 98357 w 103781"/>
                  <a:gd name="connsiteY4" fmla="*/ 56411 h 56410"/>
                  <a:gd name="connsiteX5" fmla="*/ 103781 w 103781"/>
                  <a:gd name="connsiteY5" fmla="*/ 50987 h 56410"/>
                  <a:gd name="connsiteX6" fmla="*/ 103781 w 103781"/>
                  <a:gd name="connsiteY6" fmla="*/ 50264 h 56410"/>
                  <a:gd name="connsiteX7" fmla="*/ 103781 w 103781"/>
                  <a:gd name="connsiteY7" fmla="*/ 48455 h 56410"/>
                  <a:gd name="connsiteX8" fmla="*/ 52072 w 103781"/>
                  <a:gd name="connsiteY8" fmla="*/ 0 h 56410"/>
                  <a:gd name="connsiteX9" fmla="*/ 11210 w 103781"/>
                  <a:gd name="connsiteY9" fmla="*/ 45563 h 56410"/>
                  <a:gd name="connsiteX10" fmla="*/ 52072 w 103781"/>
                  <a:gd name="connsiteY10" fmla="*/ 10848 h 56410"/>
                  <a:gd name="connsiteX11" fmla="*/ 92933 w 103781"/>
                  <a:gd name="connsiteY11" fmla="*/ 45563 h 56410"/>
                  <a:gd name="connsiteX12" fmla="*/ 11210 w 103781"/>
                  <a:gd name="connsiteY12" fmla="*/ 45563 h 56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781" h="56410">
                    <a:moveTo>
                      <a:pt x="52072" y="0"/>
                    </a:moveTo>
                    <a:cubicBezTo>
                      <a:pt x="23505" y="0"/>
                      <a:pt x="0" y="21696"/>
                      <a:pt x="0" y="48094"/>
                    </a:cubicBezTo>
                    <a:cubicBezTo>
                      <a:pt x="0" y="49179"/>
                      <a:pt x="0" y="50264"/>
                      <a:pt x="362" y="52072"/>
                    </a:cubicBezTo>
                    <a:cubicBezTo>
                      <a:pt x="723" y="54603"/>
                      <a:pt x="3254" y="56411"/>
                      <a:pt x="5786" y="56411"/>
                    </a:cubicBezTo>
                    <a:lnTo>
                      <a:pt x="98357" y="56411"/>
                    </a:lnTo>
                    <a:cubicBezTo>
                      <a:pt x="101250" y="56411"/>
                      <a:pt x="103781" y="53880"/>
                      <a:pt x="103781" y="50987"/>
                    </a:cubicBezTo>
                    <a:cubicBezTo>
                      <a:pt x="103781" y="50625"/>
                      <a:pt x="103781" y="50264"/>
                      <a:pt x="103781" y="50264"/>
                    </a:cubicBezTo>
                    <a:cubicBezTo>
                      <a:pt x="103781" y="49540"/>
                      <a:pt x="103781" y="48817"/>
                      <a:pt x="103781" y="48455"/>
                    </a:cubicBezTo>
                    <a:cubicBezTo>
                      <a:pt x="103781" y="21696"/>
                      <a:pt x="80639" y="0"/>
                      <a:pt x="52072" y="0"/>
                    </a:cubicBezTo>
                    <a:close/>
                    <a:moveTo>
                      <a:pt x="11210" y="45563"/>
                    </a:moveTo>
                    <a:cubicBezTo>
                      <a:pt x="12656" y="26036"/>
                      <a:pt x="30375" y="10848"/>
                      <a:pt x="52072" y="10848"/>
                    </a:cubicBezTo>
                    <a:cubicBezTo>
                      <a:pt x="73768" y="10848"/>
                      <a:pt x="91487" y="26397"/>
                      <a:pt x="92933" y="45563"/>
                    </a:cubicBezTo>
                    <a:lnTo>
                      <a:pt x="11210" y="45563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Рисунок 63">
                <a:extLst>
                  <a:ext uri="{FF2B5EF4-FFF2-40B4-BE49-F238E27FC236}">
                    <a16:creationId xmlns:a16="http://schemas.microsoft.com/office/drawing/2014/main" id="{D70CE549-6F49-4D40-911A-6959C49F261D}"/>
                  </a:ext>
                </a:extLst>
              </p:cNvPr>
              <p:cNvSpPr/>
              <p:nvPr/>
            </p:nvSpPr>
            <p:spPr>
              <a:xfrm>
                <a:off x="3796454" y="3001114"/>
                <a:ext cx="62196" cy="62196"/>
              </a:xfrm>
              <a:custGeom>
                <a:avLst/>
                <a:gdLst>
                  <a:gd name="connsiteX0" fmla="*/ 31098 w 62196"/>
                  <a:gd name="connsiteY0" fmla="*/ 62197 h 62196"/>
                  <a:gd name="connsiteX1" fmla="*/ 62197 w 62196"/>
                  <a:gd name="connsiteY1" fmla="*/ 31098 h 62196"/>
                  <a:gd name="connsiteX2" fmla="*/ 31098 w 62196"/>
                  <a:gd name="connsiteY2" fmla="*/ 0 h 62196"/>
                  <a:gd name="connsiteX3" fmla="*/ 0 w 62196"/>
                  <a:gd name="connsiteY3" fmla="*/ 31098 h 62196"/>
                  <a:gd name="connsiteX4" fmla="*/ 31098 w 62196"/>
                  <a:gd name="connsiteY4" fmla="*/ 62197 h 62196"/>
                  <a:gd name="connsiteX5" fmla="*/ 31098 w 62196"/>
                  <a:gd name="connsiteY5" fmla="*/ 11210 h 62196"/>
                  <a:gd name="connsiteX6" fmla="*/ 51348 w 62196"/>
                  <a:gd name="connsiteY6" fmla="*/ 31460 h 62196"/>
                  <a:gd name="connsiteX7" fmla="*/ 31098 w 62196"/>
                  <a:gd name="connsiteY7" fmla="*/ 51710 h 62196"/>
                  <a:gd name="connsiteX8" fmla="*/ 10848 w 62196"/>
                  <a:gd name="connsiteY8" fmla="*/ 31460 h 62196"/>
                  <a:gd name="connsiteX9" fmla="*/ 31098 w 62196"/>
                  <a:gd name="connsiteY9" fmla="*/ 11210 h 6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6" h="62196">
                    <a:moveTo>
                      <a:pt x="31098" y="62197"/>
                    </a:moveTo>
                    <a:cubicBezTo>
                      <a:pt x="48094" y="62197"/>
                      <a:pt x="62197" y="48094"/>
                      <a:pt x="62197" y="31098"/>
                    </a:cubicBezTo>
                    <a:cubicBezTo>
                      <a:pt x="62197" y="14103"/>
                      <a:pt x="48094" y="0"/>
                      <a:pt x="31098" y="0"/>
                    </a:cubicBezTo>
                    <a:cubicBezTo>
                      <a:pt x="14103" y="0"/>
                      <a:pt x="0" y="14103"/>
                      <a:pt x="0" y="31098"/>
                    </a:cubicBezTo>
                    <a:cubicBezTo>
                      <a:pt x="0" y="48455"/>
                      <a:pt x="13741" y="62197"/>
                      <a:pt x="31098" y="62197"/>
                    </a:cubicBezTo>
                    <a:close/>
                    <a:moveTo>
                      <a:pt x="31098" y="11210"/>
                    </a:moveTo>
                    <a:cubicBezTo>
                      <a:pt x="42308" y="11210"/>
                      <a:pt x="51348" y="20250"/>
                      <a:pt x="51348" y="31460"/>
                    </a:cubicBezTo>
                    <a:cubicBezTo>
                      <a:pt x="51348" y="42670"/>
                      <a:pt x="42308" y="51710"/>
                      <a:pt x="31098" y="51710"/>
                    </a:cubicBezTo>
                    <a:cubicBezTo>
                      <a:pt x="19888" y="51710"/>
                      <a:pt x="10848" y="42308"/>
                      <a:pt x="10848" y="31460"/>
                    </a:cubicBezTo>
                    <a:cubicBezTo>
                      <a:pt x="10848" y="20250"/>
                      <a:pt x="19888" y="11210"/>
                      <a:pt x="31098" y="1121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3" name="Рисунок 63">
                <a:extLst>
                  <a:ext uri="{FF2B5EF4-FFF2-40B4-BE49-F238E27FC236}">
                    <a16:creationId xmlns:a16="http://schemas.microsoft.com/office/drawing/2014/main" id="{7C06E305-FDCA-441A-9600-6E16B852DA18}"/>
                  </a:ext>
                </a:extLst>
              </p:cNvPr>
              <p:cNvSpPr/>
              <p:nvPr/>
            </p:nvSpPr>
            <p:spPr>
              <a:xfrm>
                <a:off x="3668806" y="3240137"/>
                <a:ext cx="103781" cy="56410"/>
              </a:xfrm>
              <a:custGeom>
                <a:avLst/>
                <a:gdLst>
                  <a:gd name="connsiteX0" fmla="*/ 52072 w 103781"/>
                  <a:gd name="connsiteY0" fmla="*/ 0 h 56410"/>
                  <a:gd name="connsiteX1" fmla="*/ 0 w 103781"/>
                  <a:gd name="connsiteY1" fmla="*/ 48094 h 56410"/>
                  <a:gd name="connsiteX2" fmla="*/ 362 w 103781"/>
                  <a:gd name="connsiteY2" fmla="*/ 52072 h 56410"/>
                  <a:gd name="connsiteX3" fmla="*/ 5786 w 103781"/>
                  <a:gd name="connsiteY3" fmla="*/ 56411 h 56410"/>
                  <a:gd name="connsiteX4" fmla="*/ 98357 w 103781"/>
                  <a:gd name="connsiteY4" fmla="*/ 56411 h 56410"/>
                  <a:gd name="connsiteX5" fmla="*/ 103781 w 103781"/>
                  <a:gd name="connsiteY5" fmla="*/ 50987 h 56410"/>
                  <a:gd name="connsiteX6" fmla="*/ 103781 w 103781"/>
                  <a:gd name="connsiteY6" fmla="*/ 50264 h 56410"/>
                  <a:gd name="connsiteX7" fmla="*/ 103781 w 103781"/>
                  <a:gd name="connsiteY7" fmla="*/ 48455 h 56410"/>
                  <a:gd name="connsiteX8" fmla="*/ 52072 w 103781"/>
                  <a:gd name="connsiteY8" fmla="*/ 0 h 56410"/>
                  <a:gd name="connsiteX9" fmla="*/ 10848 w 103781"/>
                  <a:gd name="connsiteY9" fmla="*/ 45563 h 56410"/>
                  <a:gd name="connsiteX10" fmla="*/ 51710 w 103781"/>
                  <a:gd name="connsiteY10" fmla="*/ 10848 h 56410"/>
                  <a:gd name="connsiteX11" fmla="*/ 92572 w 103781"/>
                  <a:gd name="connsiteY11" fmla="*/ 45563 h 56410"/>
                  <a:gd name="connsiteX12" fmla="*/ 10848 w 103781"/>
                  <a:gd name="connsiteY12" fmla="*/ 45563 h 56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781" h="56410">
                    <a:moveTo>
                      <a:pt x="52072" y="0"/>
                    </a:moveTo>
                    <a:cubicBezTo>
                      <a:pt x="23505" y="0"/>
                      <a:pt x="0" y="21696"/>
                      <a:pt x="0" y="48094"/>
                    </a:cubicBezTo>
                    <a:cubicBezTo>
                      <a:pt x="0" y="49179"/>
                      <a:pt x="0" y="50264"/>
                      <a:pt x="362" y="52072"/>
                    </a:cubicBezTo>
                    <a:cubicBezTo>
                      <a:pt x="723" y="54603"/>
                      <a:pt x="2893" y="56411"/>
                      <a:pt x="5786" y="56411"/>
                    </a:cubicBezTo>
                    <a:lnTo>
                      <a:pt x="98357" y="56411"/>
                    </a:lnTo>
                    <a:cubicBezTo>
                      <a:pt x="101250" y="56411"/>
                      <a:pt x="103781" y="53880"/>
                      <a:pt x="103781" y="50987"/>
                    </a:cubicBezTo>
                    <a:cubicBezTo>
                      <a:pt x="103781" y="50625"/>
                      <a:pt x="103781" y="50264"/>
                      <a:pt x="103781" y="50264"/>
                    </a:cubicBezTo>
                    <a:cubicBezTo>
                      <a:pt x="103781" y="49540"/>
                      <a:pt x="103781" y="48817"/>
                      <a:pt x="103781" y="48455"/>
                    </a:cubicBezTo>
                    <a:cubicBezTo>
                      <a:pt x="103781" y="21696"/>
                      <a:pt x="80639" y="0"/>
                      <a:pt x="52072" y="0"/>
                    </a:cubicBezTo>
                    <a:close/>
                    <a:moveTo>
                      <a:pt x="10848" y="45563"/>
                    </a:moveTo>
                    <a:cubicBezTo>
                      <a:pt x="12295" y="26036"/>
                      <a:pt x="30013" y="10848"/>
                      <a:pt x="51710" y="10848"/>
                    </a:cubicBezTo>
                    <a:cubicBezTo>
                      <a:pt x="73406" y="10848"/>
                      <a:pt x="91125" y="26397"/>
                      <a:pt x="92572" y="45563"/>
                    </a:cubicBezTo>
                    <a:lnTo>
                      <a:pt x="10848" y="45563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Рисунок 63">
                <a:extLst>
                  <a:ext uri="{FF2B5EF4-FFF2-40B4-BE49-F238E27FC236}">
                    <a16:creationId xmlns:a16="http://schemas.microsoft.com/office/drawing/2014/main" id="{2BCB1A0E-202F-4439-B546-7EC50BB39220}"/>
                  </a:ext>
                </a:extLst>
              </p:cNvPr>
              <p:cNvSpPr/>
              <p:nvPr/>
            </p:nvSpPr>
            <p:spPr>
              <a:xfrm>
                <a:off x="3689780" y="3169262"/>
                <a:ext cx="62196" cy="62196"/>
              </a:xfrm>
              <a:custGeom>
                <a:avLst/>
                <a:gdLst>
                  <a:gd name="connsiteX0" fmla="*/ 31098 w 62196"/>
                  <a:gd name="connsiteY0" fmla="*/ 62197 h 62196"/>
                  <a:gd name="connsiteX1" fmla="*/ 62197 w 62196"/>
                  <a:gd name="connsiteY1" fmla="*/ 31098 h 62196"/>
                  <a:gd name="connsiteX2" fmla="*/ 31098 w 62196"/>
                  <a:gd name="connsiteY2" fmla="*/ 0 h 62196"/>
                  <a:gd name="connsiteX3" fmla="*/ 0 w 62196"/>
                  <a:gd name="connsiteY3" fmla="*/ 31098 h 62196"/>
                  <a:gd name="connsiteX4" fmla="*/ 31098 w 62196"/>
                  <a:gd name="connsiteY4" fmla="*/ 62197 h 62196"/>
                  <a:gd name="connsiteX5" fmla="*/ 31098 w 62196"/>
                  <a:gd name="connsiteY5" fmla="*/ 10848 h 62196"/>
                  <a:gd name="connsiteX6" fmla="*/ 51348 w 62196"/>
                  <a:gd name="connsiteY6" fmla="*/ 31098 h 62196"/>
                  <a:gd name="connsiteX7" fmla="*/ 31098 w 62196"/>
                  <a:gd name="connsiteY7" fmla="*/ 51348 h 62196"/>
                  <a:gd name="connsiteX8" fmla="*/ 10848 w 62196"/>
                  <a:gd name="connsiteY8" fmla="*/ 31098 h 62196"/>
                  <a:gd name="connsiteX9" fmla="*/ 31098 w 62196"/>
                  <a:gd name="connsiteY9" fmla="*/ 10848 h 6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6" h="62196">
                    <a:moveTo>
                      <a:pt x="31098" y="62197"/>
                    </a:moveTo>
                    <a:cubicBezTo>
                      <a:pt x="48094" y="62197"/>
                      <a:pt x="62197" y="48094"/>
                      <a:pt x="62197" y="31098"/>
                    </a:cubicBezTo>
                    <a:cubicBezTo>
                      <a:pt x="62197" y="14103"/>
                      <a:pt x="48094" y="0"/>
                      <a:pt x="31098" y="0"/>
                    </a:cubicBezTo>
                    <a:cubicBezTo>
                      <a:pt x="14103" y="0"/>
                      <a:pt x="0" y="14103"/>
                      <a:pt x="0" y="31098"/>
                    </a:cubicBezTo>
                    <a:cubicBezTo>
                      <a:pt x="0" y="48094"/>
                      <a:pt x="13741" y="62197"/>
                      <a:pt x="31098" y="62197"/>
                    </a:cubicBezTo>
                    <a:close/>
                    <a:moveTo>
                      <a:pt x="31098" y="10848"/>
                    </a:moveTo>
                    <a:cubicBezTo>
                      <a:pt x="42308" y="10848"/>
                      <a:pt x="51348" y="19888"/>
                      <a:pt x="51348" y="31098"/>
                    </a:cubicBezTo>
                    <a:cubicBezTo>
                      <a:pt x="51348" y="42308"/>
                      <a:pt x="42308" y="51348"/>
                      <a:pt x="31098" y="51348"/>
                    </a:cubicBezTo>
                    <a:cubicBezTo>
                      <a:pt x="19888" y="51348"/>
                      <a:pt x="10848" y="42308"/>
                      <a:pt x="10848" y="31098"/>
                    </a:cubicBezTo>
                    <a:cubicBezTo>
                      <a:pt x="10848" y="19888"/>
                      <a:pt x="19888" y="10848"/>
                      <a:pt x="31098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Рисунок 63">
                <a:extLst>
                  <a:ext uri="{FF2B5EF4-FFF2-40B4-BE49-F238E27FC236}">
                    <a16:creationId xmlns:a16="http://schemas.microsoft.com/office/drawing/2014/main" id="{DA9A99E5-797E-4D2B-AD65-CCBE52B10A07}"/>
                  </a:ext>
                </a:extLst>
              </p:cNvPr>
              <p:cNvSpPr/>
              <p:nvPr/>
            </p:nvSpPr>
            <p:spPr>
              <a:xfrm>
                <a:off x="3881794" y="3240137"/>
                <a:ext cx="103781" cy="56410"/>
              </a:xfrm>
              <a:custGeom>
                <a:avLst/>
                <a:gdLst>
                  <a:gd name="connsiteX0" fmla="*/ 52072 w 103781"/>
                  <a:gd name="connsiteY0" fmla="*/ 0 h 56410"/>
                  <a:gd name="connsiteX1" fmla="*/ 0 w 103781"/>
                  <a:gd name="connsiteY1" fmla="*/ 48094 h 56410"/>
                  <a:gd name="connsiteX2" fmla="*/ 362 w 103781"/>
                  <a:gd name="connsiteY2" fmla="*/ 52072 h 56410"/>
                  <a:gd name="connsiteX3" fmla="*/ 5786 w 103781"/>
                  <a:gd name="connsiteY3" fmla="*/ 56411 h 56410"/>
                  <a:gd name="connsiteX4" fmla="*/ 98357 w 103781"/>
                  <a:gd name="connsiteY4" fmla="*/ 56411 h 56410"/>
                  <a:gd name="connsiteX5" fmla="*/ 103781 w 103781"/>
                  <a:gd name="connsiteY5" fmla="*/ 50987 h 56410"/>
                  <a:gd name="connsiteX6" fmla="*/ 103781 w 103781"/>
                  <a:gd name="connsiteY6" fmla="*/ 50264 h 56410"/>
                  <a:gd name="connsiteX7" fmla="*/ 103781 w 103781"/>
                  <a:gd name="connsiteY7" fmla="*/ 48455 h 56410"/>
                  <a:gd name="connsiteX8" fmla="*/ 52072 w 103781"/>
                  <a:gd name="connsiteY8" fmla="*/ 0 h 56410"/>
                  <a:gd name="connsiteX9" fmla="*/ 10848 w 103781"/>
                  <a:gd name="connsiteY9" fmla="*/ 45563 h 56410"/>
                  <a:gd name="connsiteX10" fmla="*/ 51710 w 103781"/>
                  <a:gd name="connsiteY10" fmla="*/ 10848 h 56410"/>
                  <a:gd name="connsiteX11" fmla="*/ 92572 w 103781"/>
                  <a:gd name="connsiteY11" fmla="*/ 45563 h 56410"/>
                  <a:gd name="connsiteX12" fmla="*/ 10848 w 103781"/>
                  <a:gd name="connsiteY12" fmla="*/ 45563 h 564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3781" h="56410">
                    <a:moveTo>
                      <a:pt x="52072" y="0"/>
                    </a:moveTo>
                    <a:cubicBezTo>
                      <a:pt x="23505" y="0"/>
                      <a:pt x="0" y="21696"/>
                      <a:pt x="0" y="48094"/>
                    </a:cubicBezTo>
                    <a:cubicBezTo>
                      <a:pt x="0" y="49179"/>
                      <a:pt x="0" y="50264"/>
                      <a:pt x="362" y="52072"/>
                    </a:cubicBezTo>
                    <a:cubicBezTo>
                      <a:pt x="723" y="54603"/>
                      <a:pt x="3254" y="56411"/>
                      <a:pt x="5786" y="56411"/>
                    </a:cubicBezTo>
                    <a:lnTo>
                      <a:pt x="98357" y="56411"/>
                    </a:lnTo>
                    <a:cubicBezTo>
                      <a:pt x="101250" y="56411"/>
                      <a:pt x="103781" y="53880"/>
                      <a:pt x="103781" y="50987"/>
                    </a:cubicBezTo>
                    <a:cubicBezTo>
                      <a:pt x="103781" y="50625"/>
                      <a:pt x="103781" y="50264"/>
                      <a:pt x="103781" y="50264"/>
                    </a:cubicBezTo>
                    <a:cubicBezTo>
                      <a:pt x="103781" y="49540"/>
                      <a:pt x="103781" y="48817"/>
                      <a:pt x="103781" y="48455"/>
                    </a:cubicBezTo>
                    <a:cubicBezTo>
                      <a:pt x="103781" y="21696"/>
                      <a:pt x="80639" y="0"/>
                      <a:pt x="52072" y="0"/>
                    </a:cubicBezTo>
                    <a:close/>
                    <a:moveTo>
                      <a:pt x="10848" y="45563"/>
                    </a:moveTo>
                    <a:cubicBezTo>
                      <a:pt x="12295" y="26036"/>
                      <a:pt x="30013" y="10848"/>
                      <a:pt x="51710" y="10848"/>
                    </a:cubicBezTo>
                    <a:cubicBezTo>
                      <a:pt x="73406" y="10848"/>
                      <a:pt x="91125" y="26397"/>
                      <a:pt x="92572" y="45563"/>
                    </a:cubicBezTo>
                    <a:lnTo>
                      <a:pt x="10848" y="45563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6" name="Рисунок 63">
                <a:extLst>
                  <a:ext uri="{FF2B5EF4-FFF2-40B4-BE49-F238E27FC236}">
                    <a16:creationId xmlns:a16="http://schemas.microsoft.com/office/drawing/2014/main" id="{99E688EB-7E1D-4BFE-8A73-03282B3BBCDA}"/>
                  </a:ext>
                </a:extLst>
              </p:cNvPr>
              <p:cNvSpPr/>
              <p:nvPr/>
            </p:nvSpPr>
            <p:spPr>
              <a:xfrm>
                <a:off x="3902767" y="3169262"/>
                <a:ext cx="62196" cy="62196"/>
              </a:xfrm>
              <a:custGeom>
                <a:avLst/>
                <a:gdLst>
                  <a:gd name="connsiteX0" fmla="*/ 0 w 62196"/>
                  <a:gd name="connsiteY0" fmla="*/ 31098 h 62196"/>
                  <a:gd name="connsiteX1" fmla="*/ 31098 w 62196"/>
                  <a:gd name="connsiteY1" fmla="*/ 62197 h 62196"/>
                  <a:gd name="connsiteX2" fmla="*/ 62197 w 62196"/>
                  <a:gd name="connsiteY2" fmla="*/ 31098 h 62196"/>
                  <a:gd name="connsiteX3" fmla="*/ 31098 w 62196"/>
                  <a:gd name="connsiteY3" fmla="*/ 0 h 62196"/>
                  <a:gd name="connsiteX4" fmla="*/ 0 w 62196"/>
                  <a:gd name="connsiteY4" fmla="*/ 31098 h 62196"/>
                  <a:gd name="connsiteX5" fmla="*/ 30737 w 62196"/>
                  <a:gd name="connsiteY5" fmla="*/ 10848 h 62196"/>
                  <a:gd name="connsiteX6" fmla="*/ 50987 w 62196"/>
                  <a:gd name="connsiteY6" fmla="*/ 31098 h 62196"/>
                  <a:gd name="connsiteX7" fmla="*/ 30737 w 62196"/>
                  <a:gd name="connsiteY7" fmla="*/ 51348 h 62196"/>
                  <a:gd name="connsiteX8" fmla="*/ 10487 w 62196"/>
                  <a:gd name="connsiteY8" fmla="*/ 31098 h 62196"/>
                  <a:gd name="connsiteX9" fmla="*/ 30737 w 62196"/>
                  <a:gd name="connsiteY9" fmla="*/ 10848 h 621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196" h="62196">
                    <a:moveTo>
                      <a:pt x="0" y="31098"/>
                    </a:moveTo>
                    <a:cubicBezTo>
                      <a:pt x="0" y="48094"/>
                      <a:pt x="14103" y="62197"/>
                      <a:pt x="31098" y="62197"/>
                    </a:cubicBezTo>
                    <a:cubicBezTo>
                      <a:pt x="48094" y="62197"/>
                      <a:pt x="62197" y="48094"/>
                      <a:pt x="62197" y="31098"/>
                    </a:cubicBezTo>
                    <a:cubicBezTo>
                      <a:pt x="62197" y="14103"/>
                      <a:pt x="48094" y="0"/>
                      <a:pt x="31098" y="0"/>
                    </a:cubicBezTo>
                    <a:cubicBezTo>
                      <a:pt x="14103" y="0"/>
                      <a:pt x="0" y="13741"/>
                      <a:pt x="0" y="31098"/>
                    </a:cubicBezTo>
                    <a:close/>
                    <a:moveTo>
                      <a:pt x="30737" y="10848"/>
                    </a:moveTo>
                    <a:cubicBezTo>
                      <a:pt x="41947" y="10848"/>
                      <a:pt x="50987" y="19888"/>
                      <a:pt x="50987" y="31098"/>
                    </a:cubicBezTo>
                    <a:cubicBezTo>
                      <a:pt x="50987" y="42308"/>
                      <a:pt x="41947" y="51348"/>
                      <a:pt x="30737" y="51348"/>
                    </a:cubicBezTo>
                    <a:cubicBezTo>
                      <a:pt x="19527" y="51348"/>
                      <a:pt x="10487" y="42308"/>
                      <a:pt x="10487" y="31098"/>
                    </a:cubicBezTo>
                    <a:cubicBezTo>
                      <a:pt x="10848" y="19888"/>
                      <a:pt x="19888" y="10848"/>
                      <a:pt x="30737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Рисунок 63">
                <a:extLst>
                  <a:ext uri="{FF2B5EF4-FFF2-40B4-BE49-F238E27FC236}">
                    <a16:creationId xmlns:a16="http://schemas.microsoft.com/office/drawing/2014/main" id="{156C9C3B-C515-426F-9341-294F20BC7542}"/>
                  </a:ext>
                </a:extLst>
              </p:cNvPr>
              <p:cNvSpPr/>
              <p:nvPr/>
            </p:nvSpPr>
            <p:spPr>
              <a:xfrm>
                <a:off x="3786330" y="3262920"/>
                <a:ext cx="83890" cy="17717"/>
              </a:xfrm>
              <a:custGeom>
                <a:avLst/>
                <a:gdLst>
                  <a:gd name="connsiteX0" fmla="*/ 76298 w 83890"/>
                  <a:gd name="connsiteY0" fmla="*/ 360 h 17717"/>
                  <a:gd name="connsiteX1" fmla="*/ 7231 w 83890"/>
                  <a:gd name="connsiteY1" fmla="*/ 360 h 17717"/>
                  <a:gd name="connsiteX2" fmla="*/ 360 w 83890"/>
                  <a:gd name="connsiteY2" fmla="*/ 3615 h 17717"/>
                  <a:gd name="connsiteX3" fmla="*/ 3615 w 83890"/>
                  <a:gd name="connsiteY3" fmla="*/ 10485 h 17717"/>
                  <a:gd name="connsiteX4" fmla="*/ 41945 w 83890"/>
                  <a:gd name="connsiteY4" fmla="*/ 17717 h 17717"/>
                  <a:gd name="connsiteX5" fmla="*/ 80276 w 83890"/>
                  <a:gd name="connsiteY5" fmla="*/ 10485 h 17717"/>
                  <a:gd name="connsiteX6" fmla="*/ 83530 w 83890"/>
                  <a:gd name="connsiteY6" fmla="*/ 3615 h 17717"/>
                  <a:gd name="connsiteX7" fmla="*/ 76298 w 83890"/>
                  <a:gd name="connsiteY7" fmla="*/ 360 h 1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890" h="17717">
                    <a:moveTo>
                      <a:pt x="76298" y="360"/>
                    </a:moveTo>
                    <a:cubicBezTo>
                      <a:pt x="53878" y="9039"/>
                      <a:pt x="29650" y="9039"/>
                      <a:pt x="7231" y="360"/>
                    </a:cubicBezTo>
                    <a:cubicBezTo>
                      <a:pt x="4338" y="-725"/>
                      <a:pt x="1445" y="722"/>
                      <a:pt x="360" y="3615"/>
                    </a:cubicBezTo>
                    <a:cubicBezTo>
                      <a:pt x="-725" y="6508"/>
                      <a:pt x="722" y="9400"/>
                      <a:pt x="3615" y="10485"/>
                    </a:cubicBezTo>
                    <a:cubicBezTo>
                      <a:pt x="15909" y="15186"/>
                      <a:pt x="28927" y="17717"/>
                      <a:pt x="41945" y="17717"/>
                    </a:cubicBezTo>
                    <a:cubicBezTo>
                      <a:pt x="54963" y="17717"/>
                      <a:pt x="67981" y="15186"/>
                      <a:pt x="80276" y="10485"/>
                    </a:cubicBezTo>
                    <a:cubicBezTo>
                      <a:pt x="83168" y="9400"/>
                      <a:pt x="84615" y="6146"/>
                      <a:pt x="83530" y="3615"/>
                    </a:cubicBezTo>
                    <a:cubicBezTo>
                      <a:pt x="82445" y="722"/>
                      <a:pt x="79191" y="-725"/>
                      <a:pt x="76298" y="36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Рисунок 63">
                <a:extLst>
                  <a:ext uri="{FF2B5EF4-FFF2-40B4-BE49-F238E27FC236}">
                    <a16:creationId xmlns:a16="http://schemas.microsoft.com/office/drawing/2014/main" id="{24A0C115-4E29-4CC2-BECF-B11619AEAA47}"/>
                  </a:ext>
                </a:extLst>
              </p:cNvPr>
              <p:cNvSpPr/>
              <p:nvPr/>
            </p:nvSpPr>
            <p:spPr>
              <a:xfrm>
                <a:off x="3725058" y="3093674"/>
                <a:ext cx="40670" cy="59676"/>
              </a:xfrm>
              <a:custGeom>
                <a:avLst/>
                <a:gdLst>
                  <a:gd name="connsiteX0" fmla="*/ 4137 w 40670"/>
                  <a:gd name="connsiteY0" fmla="*/ 59315 h 59676"/>
                  <a:gd name="connsiteX1" fmla="*/ 5584 w 40670"/>
                  <a:gd name="connsiteY1" fmla="*/ 59677 h 59676"/>
                  <a:gd name="connsiteX2" fmla="*/ 10646 w 40670"/>
                  <a:gd name="connsiteY2" fmla="*/ 55699 h 59676"/>
                  <a:gd name="connsiteX3" fmla="*/ 38852 w 40670"/>
                  <a:gd name="connsiteY3" fmla="*/ 9413 h 59676"/>
                  <a:gd name="connsiteX4" fmla="*/ 39213 w 40670"/>
                  <a:gd name="connsiteY4" fmla="*/ 1819 h 59676"/>
                  <a:gd name="connsiteX5" fmla="*/ 31619 w 40670"/>
                  <a:gd name="connsiteY5" fmla="*/ 1458 h 59676"/>
                  <a:gd name="connsiteX6" fmla="*/ 159 w 40670"/>
                  <a:gd name="connsiteY6" fmla="*/ 52806 h 59676"/>
                  <a:gd name="connsiteX7" fmla="*/ 4137 w 40670"/>
                  <a:gd name="connsiteY7" fmla="*/ 59315 h 59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670" h="59676">
                    <a:moveTo>
                      <a:pt x="4137" y="59315"/>
                    </a:moveTo>
                    <a:cubicBezTo>
                      <a:pt x="4499" y="59315"/>
                      <a:pt x="5222" y="59677"/>
                      <a:pt x="5584" y="59677"/>
                    </a:cubicBezTo>
                    <a:cubicBezTo>
                      <a:pt x="8115" y="59677"/>
                      <a:pt x="10284" y="58230"/>
                      <a:pt x="10646" y="55699"/>
                    </a:cubicBezTo>
                    <a:cubicBezTo>
                      <a:pt x="15347" y="37980"/>
                      <a:pt x="25110" y="22069"/>
                      <a:pt x="38852" y="9413"/>
                    </a:cubicBezTo>
                    <a:cubicBezTo>
                      <a:pt x="41021" y="7243"/>
                      <a:pt x="41383" y="3989"/>
                      <a:pt x="39213" y="1819"/>
                    </a:cubicBezTo>
                    <a:cubicBezTo>
                      <a:pt x="37043" y="-350"/>
                      <a:pt x="33789" y="-712"/>
                      <a:pt x="31619" y="1458"/>
                    </a:cubicBezTo>
                    <a:cubicBezTo>
                      <a:pt x="16432" y="15199"/>
                      <a:pt x="5222" y="32918"/>
                      <a:pt x="159" y="52806"/>
                    </a:cubicBezTo>
                    <a:cubicBezTo>
                      <a:pt x="-564" y="55699"/>
                      <a:pt x="1244" y="58592"/>
                      <a:pt x="4137" y="59315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Рисунок 63">
                <a:extLst>
                  <a:ext uri="{FF2B5EF4-FFF2-40B4-BE49-F238E27FC236}">
                    <a16:creationId xmlns:a16="http://schemas.microsoft.com/office/drawing/2014/main" id="{A8CB202B-B489-4BE8-A0A6-AE3DE7787758}"/>
                  </a:ext>
                </a:extLst>
              </p:cNvPr>
              <p:cNvSpPr/>
              <p:nvPr/>
            </p:nvSpPr>
            <p:spPr>
              <a:xfrm>
                <a:off x="3890461" y="3093674"/>
                <a:ext cx="40670" cy="59676"/>
              </a:xfrm>
              <a:custGeom>
                <a:avLst/>
                <a:gdLst>
                  <a:gd name="connsiteX0" fmla="*/ 30025 w 40670"/>
                  <a:gd name="connsiteY0" fmla="*/ 55699 h 59676"/>
                  <a:gd name="connsiteX1" fmla="*/ 35087 w 40670"/>
                  <a:gd name="connsiteY1" fmla="*/ 59677 h 59676"/>
                  <a:gd name="connsiteX2" fmla="*/ 36534 w 40670"/>
                  <a:gd name="connsiteY2" fmla="*/ 59315 h 59676"/>
                  <a:gd name="connsiteX3" fmla="*/ 40511 w 40670"/>
                  <a:gd name="connsiteY3" fmla="*/ 52806 h 59676"/>
                  <a:gd name="connsiteX4" fmla="*/ 9051 w 40670"/>
                  <a:gd name="connsiteY4" fmla="*/ 1458 h 59676"/>
                  <a:gd name="connsiteX5" fmla="*/ 1458 w 40670"/>
                  <a:gd name="connsiteY5" fmla="*/ 1819 h 59676"/>
                  <a:gd name="connsiteX6" fmla="*/ 1819 w 40670"/>
                  <a:gd name="connsiteY6" fmla="*/ 9413 h 59676"/>
                  <a:gd name="connsiteX7" fmla="*/ 30025 w 40670"/>
                  <a:gd name="connsiteY7" fmla="*/ 55699 h 59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670" h="59676">
                    <a:moveTo>
                      <a:pt x="30025" y="55699"/>
                    </a:moveTo>
                    <a:cubicBezTo>
                      <a:pt x="30748" y="58230"/>
                      <a:pt x="32918" y="59677"/>
                      <a:pt x="35087" y="59677"/>
                    </a:cubicBezTo>
                    <a:cubicBezTo>
                      <a:pt x="35449" y="59677"/>
                      <a:pt x="36172" y="59677"/>
                      <a:pt x="36534" y="59315"/>
                    </a:cubicBezTo>
                    <a:cubicBezTo>
                      <a:pt x="39427" y="58592"/>
                      <a:pt x="41235" y="55699"/>
                      <a:pt x="40511" y="52806"/>
                    </a:cubicBezTo>
                    <a:cubicBezTo>
                      <a:pt x="35087" y="32918"/>
                      <a:pt x="24239" y="15199"/>
                      <a:pt x="9051" y="1458"/>
                    </a:cubicBezTo>
                    <a:cubicBezTo>
                      <a:pt x="6882" y="-712"/>
                      <a:pt x="3266" y="-350"/>
                      <a:pt x="1458" y="1819"/>
                    </a:cubicBezTo>
                    <a:cubicBezTo>
                      <a:pt x="-712" y="3989"/>
                      <a:pt x="-350" y="7605"/>
                      <a:pt x="1819" y="9413"/>
                    </a:cubicBezTo>
                    <a:cubicBezTo>
                      <a:pt x="15560" y="21708"/>
                      <a:pt x="25324" y="37618"/>
                      <a:pt x="30025" y="55699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70" name="Group 40">
            <a:extLst>
              <a:ext uri="{FF2B5EF4-FFF2-40B4-BE49-F238E27FC236}">
                <a16:creationId xmlns:a16="http://schemas.microsoft.com/office/drawing/2014/main" id="{9897D24A-521E-4132-BE0A-17AA6C2B2069}"/>
              </a:ext>
            </a:extLst>
          </p:cNvPr>
          <p:cNvGrpSpPr/>
          <p:nvPr/>
        </p:nvGrpSpPr>
        <p:grpSpPr>
          <a:xfrm>
            <a:off x="3183251" y="2730529"/>
            <a:ext cx="765585" cy="742272"/>
            <a:chOff x="2640228" y="1346928"/>
            <a:chExt cx="550305" cy="550305"/>
          </a:xfrm>
        </p:grpSpPr>
        <p:sp>
          <p:nvSpPr>
            <p:cNvPr id="71" name="Овал 70">
              <a:extLst>
                <a:ext uri="{FF2B5EF4-FFF2-40B4-BE49-F238E27FC236}">
                  <a16:creationId xmlns:a16="http://schemas.microsoft.com/office/drawing/2014/main" id="{3BA2D93C-3912-45F8-83BF-492C7FD4BD30}"/>
                </a:ext>
              </a:extLst>
            </p:cNvPr>
            <p:cNvSpPr/>
            <p:nvPr/>
          </p:nvSpPr>
          <p:spPr>
            <a:xfrm>
              <a:off x="2640228" y="13469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72" name="Graphic 344">
              <a:extLst>
                <a:ext uri="{FF2B5EF4-FFF2-40B4-BE49-F238E27FC236}">
                  <a16:creationId xmlns:a16="http://schemas.microsoft.com/office/drawing/2014/main" id="{289B9859-BE62-49BF-90A3-D93671AF399B}"/>
                </a:ext>
              </a:extLst>
            </p:cNvPr>
            <p:cNvGrpSpPr/>
            <p:nvPr/>
          </p:nvGrpSpPr>
          <p:grpSpPr>
            <a:xfrm>
              <a:off x="2770516" y="1461954"/>
              <a:ext cx="275991" cy="306065"/>
              <a:chOff x="2770516" y="1461954"/>
              <a:chExt cx="275991" cy="306065"/>
            </a:xfrm>
            <a:solidFill>
              <a:srgbClr val="231F20"/>
            </a:solidFill>
          </p:grpSpPr>
          <p:sp>
            <p:nvSpPr>
              <p:cNvPr id="73" name="Graphic 344">
                <a:extLst>
                  <a:ext uri="{FF2B5EF4-FFF2-40B4-BE49-F238E27FC236}">
                    <a16:creationId xmlns:a16="http://schemas.microsoft.com/office/drawing/2014/main" id="{3E1A83F1-858C-47CE-9868-AE2AF2F154DD}"/>
                  </a:ext>
                </a:extLst>
              </p:cNvPr>
              <p:cNvSpPr/>
              <p:nvPr/>
            </p:nvSpPr>
            <p:spPr>
              <a:xfrm>
                <a:off x="2770516" y="1461954"/>
                <a:ext cx="275991" cy="306065"/>
              </a:xfrm>
              <a:custGeom>
                <a:avLst/>
                <a:gdLst>
                  <a:gd name="connsiteX0" fmla="*/ 260458 w 275991"/>
                  <a:gd name="connsiteY0" fmla="*/ 54154 h 306065"/>
                  <a:gd name="connsiteX1" fmla="*/ 105435 w 275991"/>
                  <a:gd name="connsiteY1" fmla="*/ 6258 h 306065"/>
                  <a:gd name="connsiteX2" fmla="*/ 49130 w 275991"/>
                  <a:gd name="connsiteY2" fmla="*/ 44648 h 306065"/>
                  <a:gd name="connsiteX3" fmla="*/ 40355 w 275991"/>
                  <a:gd name="connsiteY3" fmla="*/ 124719 h 306065"/>
                  <a:gd name="connsiteX4" fmla="*/ 1234 w 275991"/>
                  <a:gd name="connsiteY4" fmla="*/ 170787 h 306065"/>
                  <a:gd name="connsiteX5" fmla="*/ 137 w 275991"/>
                  <a:gd name="connsiteY5" fmla="*/ 175905 h 306065"/>
                  <a:gd name="connsiteX6" fmla="*/ 3428 w 275991"/>
                  <a:gd name="connsiteY6" fmla="*/ 179561 h 306065"/>
                  <a:gd name="connsiteX7" fmla="*/ 27193 w 275991"/>
                  <a:gd name="connsiteY7" fmla="*/ 188336 h 306065"/>
                  <a:gd name="connsiteX8" fmla="*/ 39258 w 275991"/>
                  <a:gd name="connsiteY8" fmla="*/ 266213 h 306065"/>
                  <a:gd name="connsiteX9" fmla="*/ 39258 w 275991"/>
                  <a:gd name="connsiteY9" fmla="*/ 266213 h 306065"/>
                  <a:gd name="connsiteX10" fmla="*/ 101414 w 275991"/>
                  <a:gd name="connsiteY10" fmla="*/ 269504 h 306065"/>
                  <a:gd name="connsiteX11" fmla="*/ 101414 w 275991"/>
                  <a:gd name="connsiteY11" fmla="*/ 300581 h 306065"/>
                  <a:gd name="connsiteX12" fmla="*/ 106898 w 275991"/>
                  <a:gd name="connsiteY12" fmla="*/ 306066 h 306065"/>
                  <a:gd name="connsiteX13" fmla="*/ 226090 w 275991"/>
                  <a:gd name="connsiteY13" fmla="*/ 306066 h 306065"/>
                  <a:gd name="connsiteX14" fmla="*/ 231574 w 275991"/>
                  <a:gd name="connsiteY14" fmla="*/ 300581 h 306065"/>
                  <a:gd name="connsiteX15" fmla="*/ 231574 w 275991"/>
                  <a:gd name="connsiteY15" fmla="*/ 232942 h 306065"/>
                  <a:gd name="connsiteX16" fmla="*/ 250221 w 275991"/>
                  <a:gd name="connsiteY16" fmla="*/ 191261 h 306065"/>
                  <a:gd name="connsiteX17" fmla="*/ 273620 w 275991"/>
                  <a:gd name="connsiteY17" fmla="*/ 147021 h 306065"/>
                  <a:gd name="connsiteX18" fmla="*/ 260458 w 275991"/>
                  <a:gd name="connsiteY18" fmla="*/ 54154 h 306065"/>
                  <a:gd name="connsiteX19" fmla="*/ 262652 w 275991"/>
                  <a:gd name="connsiteY19" fmla="*/ 144462 h 306065"/>
                  <a:gd name="connsiteX20" fmla="*/ 241080 w 275991"/>
                  <a:gd name="connsiteY20" fmla="*/ 184680 h 306065"/>
                  <a:gd name="connsiteX21" fmla="*/ 220240 w 275991"/>
                  <a:gd name="connsiteY21" fmla="*/ 232942 h 306065"/>
                  <a:gd name="connsiteX22" fmla="*/ 220240 w 275991"/>
                  <a:gd name="connsiteY22" fmla="*/ 295097 h 306065"/>
                  <a:gd name="connsiteX23" fmla="*/ 112017 w 275991"/>
                  <a:gd name="connsiteY23" fmla="*/ 295097 h 306065"/>
                  <a:gd name="connsiteX24" fmla="*/ 112017 w 275991"/>
                  <a:gd name="connsiteY24" fmla="*/ 261826 h 306065"/>
                  <a:gd name="connsiteX25" fmla="*/ 109823 w 275991"/>
                  <a:gd name="connsiteY25" fmla="*/ 257438 h 306065"/>
                  <a:gd name="connsiteX26" fmla="*/ 104704 w 275991"/>
                  <a:gd name="connsiteY26" fmla="*/ 256707 h 306065"/>
                  <a:gd name="connsiteX27" fmla="*/ 48764 w 275991"/>
                  <a:gd name="connsiteY27" fmla="*/ 261094 h 306065"/>
                  <a:gd name="connsiteX28" fmla="*/ 37430 w 275991"/>
                  <a:gd name="connsiteY28" fmla="*/ 183583 h 306065"/>
                  <a:gd name="connsiteX29" fmla="*/ 33774 w 275991"/>
                  <a:gd name="connsiteY29" fmla="*/ 178830 h 306065"/>
                  <a:gd name="connsiteX30" fmla="*/ 14396 w 275991"/>
                  <a:gd name="connsiteY30" fmla="*/ 171518 h 306065"/>
                  <a:gd name="connsiteX31" fmla="*/ 50227 w 275991"/>
                  <a:gd name="connsiteY31" fmla="*/ 129472 h 306065"/>
                  <a:gd name="connsiteX32" fmla="*/ 51324 w 275991"/>
                  <a:gd name="connsiteY32" fmla="*/ 124353 h 306065"/>
                  <a:gd name="connsiteX33" fmla="*/ 48033 w 275991"/>
                  <a:gd name="connsiteY33" fmla="*/ 86694 h 306065"/>
                  <a:gd name="connsiteX34" fmla="*/ 48764 w 275991"/>
                  <a:gd name="connsiteY34" fmla="*/ 79747 h 306065"/>
                  <a:gd name="connsiteX35" fmla="*/ 58636 w 275991"/>
                  <a:gd name="connsiteY35" fmla="*/ 50132 h 306065"/>
                  <a:gd name="connsiteX36" fmla="*/ 107995 w 275991"/>
                  <a:gd name="connsiteY36" fmla="*/ 16861 h 306065"/>
                  <a:gd name="connsiteX37" fmla="*/ 250586 w 275991"/>
                  <a:gd name="connsiteY37" fmla="*/ 58542 h 306065"/>
                  <a:gd name="connsiteX38" fmla="*/ 262652 w 275991"/>
                  <a:gd name="connsiteY38" fmla="*/ 144462 h 306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75991" h="306065">
                    <a:moveTo>
                      <a:pt x="260458" y="54154"/>
                    </a:moveTo>
                    <a:cubicBezTo>
                      <a:pt x="248758" y="27830"/>
                      <a:pt x="201593" y="-16410"/>
                      <a:pt x="105435" y="6258"/>
                    </a:cubicBezTo>
                    <a:cubicBezTo>
                      <a:pt x="79476" y="12474"/>
                      <a:pt x="60464" y="25270"/>
                      <a:pt x="49130" y="44648"/>
                    </a:cubicBezTo>
                    <a:cubicBezTo>
                      <a:pt x="30849" y="76091"/>
                      <a:pt x="37796" y="114116"/>
                      <a:pt x="40355" y="124719"/>
                    </a:cubicBezTo>
                    <a:lnTo>
                      <a:pt x="1234" y="170787"/>
                    </a:lnTo>
                    <a:cubicBezTo>
                      <a:pt x="137" y="172249"/>
                      <a:pt x="-229" y="174077"/>
                      <a:pt x="137" y="175905"/>
                    </a:cubicBezTo>
                    <a:cubicBezTo>
                      <a:pt x="503" y="177733"/>
                      <a:pt x="1965" y="179196"/>
                      <a:pt x="3428" y="179561"/>
                    </a:cubicBezTo>
                    <a:lnTo>
                      <a:pt x="27193" y="188336"/>
                    </a:lnTo>
                    <a:cubicBezTo>
                      <a:pt x="29021" y="205155"/>
                      <a:pt x="34140" y="255976"/>
                      <a:pt x="39258" y="266213"/>
                    </a:cubicBezTo>
                    <a:cubicBezTo>
                      <a:pt x="39258" y="266213"/>
                      <a:pt x="39258" y="266213"/>
                      <a:pt x="39258" y="266213"/>
                    </a:cubicBezTo>
                    <a:cubicBezTo>
                      <a:pt x="48033" y="283763"/>
                      <a:pt x="84229" y="274988"/>
                      <a:pt x="101414" y="269504"/>
                    </a:cubicBezTo>
                    <a:lnTo>
                      <a:pt x="101414" y="300581"/>
                    </a:lnTo>
                    <a:cubicBezTo>
                      <a:pt x="101414" y="303506"/>
                      <a:pt x="103973" y="306066"/>
                      <a:pt x="106898" y="306066"/>
                    </a:cubicBezTo>
                    <a:lnTo>
                      <a:pt x="226090" y="306066"/>
                    </a:lnTo>
                    <a:cubicBezTo>
                      <a:pt x="229015" y="306066"/>
                      <a:pt x="231574" y="303506"/>
                      <a:pt x="231574" y="300581"/>
                    </a:cubicBezTo>
                    <a:lnTo>
                      <a:pt x="231574" y="232942"/>
                    </a:lnTo>
                    <a:cubicBezTo>
                      <a:pt x="231574" y="215758"/>
                      <a:pt x="240349" y="204423"/>
                      <a:pt x="250221" y="191261"/>
                    </a:cubicBezTo>
                    <a:cubicBezTo>
                      <a:pt x="258995" y="179561"/>
                      <a:pt x="269233" y="166034"/>
                      <a:pt x="273620" y="147021"/>
                    </a:cubicBezTo>
                    <a:cubicBezTo>
                      <a:pt x="280567" y="117041"/>
                      <a:pt x="271061" y="78285"/>
                      <a:pt x="260458" y="54154"/>
                    </a:cubicBezTo>
                    <a:close/>
                    <a:moveTo>
                      <a:pt x="262652" y="144462"/>
                    </a:moveTo>
                    <a:cubicBezTo>
                      <a:pt x="258630" y="161280"/>
                      <a:pt x="249489" y="173346"/>
                      <a:pt x="241080" y="184680"/>
                    </a:cubicBezTo>
                    <a:cubicBezTo>
                      <a:pt x="230477" y="198939"/>
                      <a:pt x="220240" y="212102"/>
                      <a:pt x="220240" y="232942"/>
                    </a:cubicBezTo>
                    <a:lnTo>
                      <a:pt x="220240" y="295097"/>
                    </a:lnTo>
                    <a:lnTo>
                      <a:pt x="112017" y="295097"/>
                    </a:lnTo>
                    <a:lnTo>
                      <a:pt x="112017" y="261826"/>
                    </a:lnTo>
                    <a:cubicBezTo>
                      <a:pt x="112017" y="259998"/>
                      <a:pt x="111285" y="258535"/>
                      <a:pt x="109823" y="257438"/>
                    </a:cubicBezTo>
                    <a:cubicBezTo>
                      <a:pt x="108360" y="256341"/>
                      <a:pt x="106532" y="256341"/>
                      <a:pt x="104704" y="256707"/>
                    </a:cubicBezTo>
                    <a:cubicBezTo>
                      <a:pt x="83864" y="264019"/>
                      <a:pt x="53152" y="269869"/>
                      <a:pt x="48764" y="261094"/>
                    </a:cubicBezTo>
                    <a:cubicBezTo>
                      <a:pt x="45474" y="254148"/>
                      <a:pt x="39990" y="209908"/>
                      <a:pt x="37430" y="183583"/>
                    </a:cubicBezTo>
                    <a:cubicBezTo>
                      <a:pt x="37065" y="181390"/>
                      <a:pt x="35968" y="179561"/>
                      <a:pt x="33774" y="178830"/>
                    </a:cubicBezTo>
                    <a:lnTo>
                      <a:pt x="14396" y="171518"/>
                    </a:lnTo>
                    <a:lnTo>
                      <a:pt x="50227" y="129472"/>
                    </a:lnTo>
                    <a:cubicBezTo>
                      <a:pt x="51324" y="128009"/>
                      <a:pt x="51689" y="126181"/>
                      <a:pt x="51324" y="124353"/>
                    </a:cubicBezTo>
                    <a:cubicBezTo>
                      <a:pt x="51324" y="123987"/>
                      <a:pt x="46571" y="107169"/>
                      <a:pt x="48033" y="86694"/>
                    </a:cubicBezTo>
                    <a:cubicBezTo>
                      <a:pt x="48033" y="85232"/>
                      <a:pt x="48399" y="81576"/>
                      <a:pt x="48764" y="79747"/>
                    </a:cubicBezTo>
                    <a:cubicBezTo>
                      <a:pt x="50227" y="69876"/>
                      <a:pt x="52786" y="59638"/>
                      <a:pt x="58636" y="50132"/>
                    </a:cubicBezTo>
                    <a:cubicBezTo>
                      <a:pt x="68508" y="33314"/>
                      <a:pt x="84961" y="22345"/>
                      <a:pt x="107995" y="16861"/>
                    </a:cubicBezTo>
                    <a:cubicBezTo>
                      <a:pt x="153331" y="6258"/>
                      <a:pt x="228649" y="8452"/>
                      <a:pt x="250586" y="58542"/>
                    </a:cubicBezTo>
                    <a:cubicBezTo>
                      <a:pt x="260092" y="81210"/>
                      <a:pt x="269233" y="117406"/>
                      <a:pt x="262652" y="144462"/>
                    </a:cubicBezTo>
                    <a:close/>
                  </a:path>
                </a:pathLst>
              </a:custGeom>
              <a:solidFill>
                <a:srgbClr val="231F20"/>
              </a:solidFill>
              <a:ln w="3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" name="Graphic 344">
                <a:extLst>
                  <a:ext uri="{FF2B5EF4-FFF2-40B4-BE49-F238E27FC236}">
                    <a16:creationId xmlns:a16="http://schemas.microsoft.com/office/drawing/2014/main" id="{09EA8A29-AF59-4805-B2D9-104A895E2E2F}"/>
                  </a:ext>
                </a:extLst>
              </p:cNvPr>
              <p:cNvSpPr/>
              <p:nvPr/>
            </p:nvSpPr>
            <p:spPr>
              <a:xfrm>
                <a:off x="2829518" y="1487169"/>
                <a:ext cx="188659" cy="180670"/>
              </a:xfrm>
              <a:custGeom>
                <a:avLst/>
                <a:gdLst>
                  <a:gd name="connsiteX0" fmla="*/ 183175 w 188659"/>
                  <a:gd name="connsiteY0" fmla="*/ 70620 h 180670"/>
                  <a:gd name="connsiteX1" fmla="*/ 183175 w 188659"/>
                  <a:gd name="connsiteY1" fmla="*/ 68426 h 180670"/>
                  <a:gd name="connsiteX2" fmla="*/ 183175 w 188659"/>
                  <a:gd name="connsiteY2" fmla="*/ 67329 h 180670"/>
                  <a:gd name="connsiteX3" fmla="*/ 182444 w 188659"/>
                  <a:gd name="connsiteY3" fmla="*/ 64770 h 180670"/>
                  <a:gd name="connsiteX4" fmla="*/ 168185 w 188659"/>
                  <a:gd name="connsiteY4" fmla="*/ 46854 h 180670"/>
                  <a:gd name="connsiteX5" fmla="*/ 168185 w 188659"/>
                  <a:gd name="connsiteY5" fmla="*/ 46489 h 180670"/>
                  <a:gd name="connsiteX6" fmla="*/ 143323 w 188659"/>
                  <a:gd name="connsiteY6" fmla="*/ 20530 h 180670"/>
                  <a:gd name="connsiteX7" fmla="*/ 118826 w 188659"/>
                  <a:gd name="connsiteY7" fmla="*/ 3346 h 180670"/>
                  <a:gd name="connsiteX8" fmla="*/ 112245 w 188659"/>
                  <a:gd name="connsiteY8" fmla="*/ 4077 h 180670"/>
                  <a:gd name="connsiteX9" fmla="*/ 96523 w 188659"/>
                  <a:gd name="connsiteY9" fmla="*/ 55 h 180670"/>
                  <a:gd name="connsiteX10" fmla="*/ 95061 w 188659"/>
                  <a:gd name="connsiteY10" fmla="*/ 55 h 180670"/>
                  <a:gd name="connsiteX11" fmla="*/ 92136 w 188659"/>
                  <a:gd name="connsiteY11" fmla="*/ 786 h 180670"/>
                  <a:gd name="connsiteX12" fmla="*/ 82264 w 188659"/>
                  <a:gd name="connsiteY12" fmla="*/ 5174 h 180670"/>
                  <a:gd name="connsiteX13" fmla="*/ 69833 w 188659"/>
                  <a:gd name="connsiteY13" fmla="*/ 1883 h 180670"/>
                  <a:gd name="connsiteX14" fmla="*/ 44971 w 188659"/>
                  <a:gd name="connsiteY14" fmla="*/ 20530 h 180670"/>
                  <a:gd name="connsiteX15" fmla="*/ 17915 w 188659"/>
                  <a:gd name="connsiteY15" fmla="*/ 45758 h 180670"/>
                  <a:gd name="connsiteX16" fmla="*/ 0 w 188659"/>
                  <a:gd name="connsiteY16" fmla="*/ 70254 h 180670"/>
                  <a:gd name="connsiteX17" fmla="*/ 23400 w 188659"/>
                  <a:gd name="connsiteY17" fmla="*/ 96213 h 180670"/>
                  <a:gd name="connsiteX18" fmla="*/ 23400 w 188659"/>
                  <a:gd name="connsiteY18" fmla="*/ 96579 h 180670"/>
                  <a:gd name="connsiteX19" fmla="*/ 49359 w 188659"/>
                  <a:gd name="connsiteY19" fmla="*/ 122538 h 180670"/>
                  <a:gd name="connsiteX20" fmla="*/ 59230 w 188659"/>
                  <a:gd name="connsiteY20" fmla="*/ 120344 h 180670"/>
                  <a:gd name="connsiteX21" fmla="*/ 73489 w 188659"/>
                  <a:gd name="connsiteY21" fmla="*/ 125463 h 180670"/>
                  <a:gd name="connsiteX22" fmla="*/ 111148 w 188659"/>
                  <a:gd name="connsiteY22" fmla="*/ 178477 h 180670"/>
                  <a:gd name="connsiteX23" fmla="*/ 115536 w 188659"/>
                  <a:gd name="connsiteY23" fmla="*/ 180671 h 180670"/>
                  <a:gd name="connsiteX24" fmla="*/ 117364 w 188659"/>
                  <a:gd name="connsiteY24" fmla="*/ 180305 h 180670"/>
                  <a:gd name="connsiteX25" fmla="*/ 125407 w 188659"/>
                  <a:gd name="connsiteY25" fmla="*/ 177380 h 180670"/>
                  <a:gd name="connsiteX26" fmla="*/ 129064 w 188659"/>
                  <a:gd name="connsiteY26" fmla="*/ 171165 h 180670"/>
                  <a:gd name="connsiteX27" fmla="*/ 122848 w 188659"/>
                  <a:gd name="connsiteY27" fmla="*/ 138625 h 180670"/>
                  <a:gd name="connsiteX28" fmla="*/ 126139 w 188659"/>
                  <a:gd name="connsiteY28" fmla="*/ 136431 h 180670"/>
                  <a:gd name="connsiteX29" fmla="*/ 146248 w 188659"/>
                  <a:gd name="connsiteY29" fmla="*/ 145937 h 180670"/>
                  <a:gd name="connsiteX30" fmla="*/ 172207 w 188659"/>
                  <a:gd name="connsiteY30" fmla="*/ 119978 h 180670"/>
                  <a:gd name="connsiteX31" fmla="*/ 172207 w 188659"/>
                  <a:gd name="connsiteY31" fmla="*/ 118516 h 180670"/>
                  <a:gd name="connsiteX32" fmla="*/ 188659 w 188659"/>
                  <a:gd name="connsiteY32" fmla="*/ 94385 h 180670"/>
                  <a:gd name="connsiteX33" fmla="*/ 182078 w 188659"/>
                  <a:gd name="connsiteY33" fmla="*/ 77566 h 180670"/>
                  <a:gd name="connsiteX34" fmla="*/ 183175 w 188659"/>
                  <a:gd name="connsiteY34" fmla="*/ 70620 h 180670"/>
                  <a:gd name="connsiteX35" fmla="*/ 95427 w 188659"/>
                  <a:gd name="connsiteY35" fmla="*/ 36617 h 180670"/>
                  <a:gd name="connsiteX36" fmla="*/ 103105 w 188659"/>
                  <a:gd name="connsiteY36" fmla="*/ 44295 h 180670"/>
                  <a:gd name="connsiteX37" fmla="*/ 95427 w 188659"/>
                  <a:gd name="connsiteY37" fmla="*/ 51973 h 180670"/>
                  <a:gd name="connsiteX38" fmla="*/ 87749 w 188659"/>
                  <a:gd name="connsiteY38" fmla="*/ 44295 h 180670"/>
                  <a:gd name="connsiteX39" fmla="*/ 95427 w 188659"/>
                  <a:gd name="connsiteY39" fmla="*/ 36617 h 180670"/>
                  <a:gd name="connsiteX40" fmla="*/ 95427 w 188659"/>
                  <a:gd name="connsiteY40" fmla="*/ 98407 h 180670"/>
                  <a:gd name="connsiteX41" fmla="*/ 87749 w 188659"/>
                  <a:gd name="connsiteY41" fmla="*/ 90729 h 180670"/>
                  <a:gd name="connsiteX42" fmla="*/ 95427 w 188659"/>
                  <a:gd name="connsiteY42" fmla="*/ 83051 h 180670"/>
                  <a:gd name="connsiteX43" fmla="*/ 103105 w 188659"/>
                  <a:gd name="connsiteY43" fmla="*/ 90729 h 180670"/>
                  <a:gd name="connsiteX44" fmla="*/ 95427 w 188659"/>
                  <a:gd name="connsiteY44" fmla="*/ 98407 h 180670"/>
                  <a:gd name="connsiteX45" fmla="*/ 164894 w 188659"/>
                  <a:gd name="connsiteY45" fmla="*/ 109741 h 180670"/>
                  <a:gd name="connsiteX46" fmla="*/ 161238 w 188659"/>
                  <a:gd name="connsiteY46" fmla="*/ 112300 h 180670"/>
                  <a:gd name="connsiteX47" fmla="*/ 160507 w 188659"/>
                  <a:gd name="connsiteY47" fmla="*/ 116688 h 180670"/>
                  <a:gd name="connsiteX48" fmla="*/ 161238 w 188659"/>
                  <a:gd name="connsiteY48" fmla="*/ 120709 h 180670"/>
                  <a:gd name="connsiteX49" fmla="*/ 146248 w 188659"/>
                  <a:gd name="connsiteY49" fmla="*/ 135700 h 180670"/>
                  <a:gd name="connsiteX50" fmla="*/ 132720 w 188659"/>
                  <a:gd name="connsiteY50" fmla="*/ 127291 h 180670"/>
                  <a:gd name="connsiteX51" fmla="*/ 129429 w 188659"/>
                  <a:gd name="connsiteY51" fmla="*/ 124366 h 180670"/>
                  <a:gd name="connsiteX52" fmla="*/ 125042 w 188659"/>
                  <a:gd name="connsiteY52" fmla="*/ 125097 h 180670"/>
                  <a:gd name="connsiteX53" fmla="*/ 113708 w 188659"/>
                  <a:gd name="connsiteY53" fmla="*/ 132044 h 180670"/>
                  <a:gd name="connsiteX54" fmla="*/ 111148 w 188659"/>
                  <a:gd name="connsiteY54" fmla="*/ 137894 h 180670"/>
                  <a:gd name="connsiteX55" fmla="*/ 116998 w 188659"/>
                  <a:gd name="connsiteY55" fmla="*/ 168606 h 180670"/>
                  <a:gd name="connsiteX56" fmla="*/ 100545 w 188659"/>
                  <a:gd name="connsiteY56" fmla="*/ 145572 h 180670"/>
                  <a:gd name="connsiteX57" fmla="*/ 100545 w 188659"/>
                  <a:gd name="connsiteY57" fmla="*/ 144840 h 180670"/>
                  <a:gd name="connsiteX58" fmla="*/ 100545 w 188659"/>
                  <a:gd name="connsiteY58" fmla="*/ 109010 h 180670"/>
                  <a:gd name="connsiteX59" fmla="*/ 113708 w 188659"/>
                  <a:gd name="connsiteY59" fmla="*/ 91460 h 180670"/>
                  <a:gd name="connsiteX60" fmla="*/ 95061 w 188659"/>
                  <a:gd name="connsiteY60" fmla="*/ 72813 h 180670"/>
                  <a:gd name="connsiteX61" fmla="*/ 76414 w 188659"/>
                  <a:gd name="connsiteY61" fmla="*/ 91460 h 180670"/>
                  <a:gd name="connsiteX62" fmla="*/ 89577 w 188659"/>
                  <a:gd name="connsiteY62" fmla="*/ 109010 h 180670"/>
                  <a:gd name="connsiteX63" fmla="*/ 89577 w 188659"/>
                  <a:gd name="connsiteY63" fmla="*/ 130216 h 180670"/>
                  <a:gd name="connsiteX64" fmla="*/ 80802 w 188659"/>
                  <a:gd name="connsiteY64" fmla="*/ 118150 h 180670"/>
                  <a:gd name="connsiteX65" fmla="*/ 76414 w 188659"/>
                  <a:gd name="connsiteY65" fmla="*/ 115956 h 180670"/>
                  <a:gd name="connsiteX66" fmla="*/ 76049 w 188659"/>
                  <a:gd name="connsiteY66" fmla="*/ 115956 h 180670"/>
                  <a:gd name="connsiteX67" fmla="*/ 74952 w 188659"/>
                  <a:gd name="connsiteY67" fmla="*/ 115956 h 180670"/>
                  <a:gd name="connsiteX68" fmla="*/ 64349 w 188659"/>
                  <a:gd name="connsiteY68" fmla="*/ 111569 h 180670"/>
                  <a:gd name="connsiteX69" fmla="*/ 57402 w 188659"/>
                  <a:gd name="connsiteY69" fmla="*/ 110838 h 180670"/>
                  <a:gd name="connsiteX70" fmla="*/ 49359 w 188659"/>
                  <a:gd name="connsiteY70" fmla="*/ 113031 h 180670"/>
                  <a:gd name="connsiteX71" fmla="*/ 34368 w 188659"/>
                  <a:gd name="connsiteY71" fmla="*/ 98041 h 180670"/>
                  <a:gd name="connsiteX72" fmla="*/ 35099 w 188659"/>
                  <a:gd name="connsiteY72" fmla="*/ 93654 h 180670"/>
                  <a:gd name="connsiteX73" fmla="*/ 34003 w 188659"/>
                  <a:gd name="connsiteY73" fmla="*/ 88169 h 180670"/>
                  <a:gd name="connsiteX74" fmla="*/ 28884 w 188659"/>
                  <a:gd name="connsiteY74" fmla="*/ 86341 h 180670"/>
                  <a:gd name="connsiteX75" fmla="*/ 10969 w 188659"/>
                  <a:gd name="connsiteY75" fmla="*/ 73910 h 180670"/>
                  <a:gd name="connsiteX76" fmla="*/ 39121 w 188659"/>
                  <a:gd name="connsiteY76" fmla="*/ 73910 h 180670"/>
                  <a:gd name="connsiteX77" fmla="*/ 56671 w 188659"/>
                  <a:gd name="connsiteY77" fmla="*/ 87073 h 180670"/>
                  <a:gd name="connsiteX78" fmla="*/ 75318 w 188659"/>
                  <a:gd name="connsiteY78" fmla="*/ 68426 h 180670"/>
                  <a:gd name="connsiteX79" fmla="*/ 56671 w 188659"/>
                  <a:gd name="connsiteY79" fmla="*/ 49779 h 180670"/>
                  <a:gd name="connsiteX80" fmla="*/ 39121 w 188659"/>
                  <a:gd name="connsiteY80" fmla="*/ 62942 h 180670"/>
                  <a:gd name="connsiteX81" fmla="*/ 13528 w 188659"/>
                  <a:gd name="connsiteY81" fmla="*/ 62942 h 180670"/>
                  <a:gd name="connsiteX82" fmla="*/ 24131 w 188659"/>
                  <a:gd name="connsiteY82" fmla="*/ 56726 h 180670"/>
                  <a:gd name="connsiteX83" fmla="*/ 27787 w 188659"/>
                  <a:gd name="connsiteY83" fmla="*/ 54532 h 180670"/>
                  <a:gd name="connsiteX84" fmla="*/ 28884 w 188659"/>
                  <a:gd name="connsiteY84" fmla="*/ 50145 h 180670"/>
                  <a:gd name="connsiteX85" fmla="*/ 28518 w 188659"/>
                  <a:gd name="connsiteY85" fmla="*/ 47586 h 180670"/>
                  <a:gd name="connsiteX86" fmla="*/ 43509 w 188659"/>
                  <a:gd name="connsiteY86" fmla="*/ 32595 h 180670"/>
                  <a:gd name="connsiteX87" fmla="*/ 47530 w 188659"/>
                  <a:gd name="connsiteY87" fmla="*/ 33327 h 180670"/>
                  <a:gd name="connsiteX88" fmla="*/ 52284 w 188659"/>
                  <a:gd name="connsiteY88" fmla="*/ 32595 h 180670"/>
                  <a:gd name="connsiteX89" fmla="*/ 54477 w 188659"/>
                  <a:gd name="connsiteY89" fmla="*/ 28573 h 180670"/>
                  <a:gd name="connsiteX90" fmla="*/ 69468 w 188659"/>
                  <a:gd name="connsiteY90" fmla="*/ 14314 h 180670"/>
                  <a:gd name="connsiteX91" fmla="*/ 78974 w 188659"/>
                  <a:gd name="connsiteY91" fmla="*/ 17971 h 180670"/>
                  <a:gd name="connsiteX92" fmla="*/ 86652 w 188659"/>
                  <a:gd name="connsiteY92" fmla="*/ 17605 h 180670"/>
                  <a:gd name="connsiteX93" fmla="*/ 89211 w 188659"/>
                  <a:gd name="connsiteY93" fmla="*/ 15411 h 180670"/>
                  <a:gd name="connsiteX94" fmla="*/ 89211 w 188659"/>
                  <a:gd name="connsiteY94" fmla="*/ 27842 h 180670"/>
                  <a:gd name="connsiteX95" fmla="*/ 76049 w 188659"/>
                  <a:gd name="connsiteY95" fmla="*/ 45392 h 180670"/>
                  <a:gd name="connsiteX96" fmla="*/ 94695 w 188659"/>
                  <a:gd name="connsiteY96" fmla="*/ 64039 h 180670"/>
                  <a:gd name="connsiteX97" fmla="*/ 113342 w 188659"/>
                  <a:gd name="connsiteY97" fmla="*/ 45392 h 180670"/>
                  <a:gd name="connsiteX98" fmla="*/ 100180 w 188659"/>
                  <a:gd name="connsiteY98" fmla="*/ 27842 h 180670"/>
                  <a:gd name="connsiteX99" fmla="*/ 100180 w 188659"/>
                  <a:gd name="connsiteY99" fmla="*/ 12852 h 180670"/>
                  <a:gd name="connsiteX100" fmla="*/ 107126 w 188659"/>
                  <a:gd name="connsiteY100" fmla="*/ 16142 h 180670"/>
                  <a:gd name="connsiteX101" fmla="*/ 112611 w 188659"/>
                  <a:gd name="connsiteY101" fmla="*/ 16874 h 180670"/>
                  <a:gd name="connsiteX102" fmla="*/ 118095 w 188659"/>
                  <a:gd name="connsiteY102" fmla="*/ 15777 h 180670"/>
                  <a:gd name="connsiteX103" fmla="*/ 132720 w 188659"/>
                  <a:gd name="connsiteY103" fmla="*/ 28573 h 180670"/>
                  <a:gd name="connsiteX104" fmla="*/ 134913 w 188659"/>
                  <a:gd name="connsiteY104" fmla="*/ 32230 h 180670"/>
                  <a:gd name="connsiteX105" fmla="*/ 138935 w 188659"/>
                  <a:gd name="connsiteY105" fmla="*/ 33327 h 180670"/>
                  <a:gd name="connsiteX106" fmla="*/ 141129 w 188659"/>
                  <a:gd name="connsiteY106" fmla="*/ 32961 h 180670"/>
                  <a:gd name="connsiteX107" fmla="*/ 156119 w 188659"/>
                  <a:gd name="connsiteY107" fmla="*/ 47951 h 180670"/>
                  <a:gd name="connsiteX108" fmla="*/ 155754 w 188659"/>
                  <a:gd name="connsiteY108" fmla="*/ 50876 h 180670"/>
                  <a:gd name="connsiteX109" fmla="*/ 159776 w 188659"/>
                  <a:gd name="connsiteY109" fmla="*/ 57092 h 180670"/>
                  <a:gd name="connsiteX110" fmla="*/ 168185 w 188659"/>
                  <a:gd name="connsiteY110" fmla="*/ 62942 h 180670"/>
                  <a:gd name="connsiteX111" fmla="*/ 149904 w 188659"/>
                  <a:gd name="connsiteY111" fmla="*/ 62942 h 180670"/>
                  <a:gd name="connsiteX112" fmla="*/ 132354 w 188659"/>
                  <a:gd name="connsiteY112" fmla="*/ 49779 h 180670"/>
                  <a:gd name="connsiteX113" fmla="*/ 113708 w 188659"/>
                  <a:gd name="connsiteY113" fmla="*/ 68426 h 180670"/>
                  <a:gd name="connsiteX114" fmla="*/ 132354 w 188659"/>
                  <a:gd name="connsiteY114" fmla="*/ 87073 h 180670"/>
                  <a:gd name="connsiteX115" fmla="*/ 149904 w 188659"/>
                  <a:gd name="connsiteY115" fmla="*/ 73910 h 180670"/>
                  <a:gd name="connsiteX116" fmla="*/ 170744 w 188659"/>
                  <a:gd name="connsiteY116" fmla="*/ 73910 h 180670"/>
                  <a:gd name="connsiteX117" fmla="*/ 169647 w 188659"/>
                  <a:gd name="connsiteY117" fmla="*/ 77932 h 180670"/>
                  <a:gd name="connsiteX118" fmla="*/ 171110 w 188659"/>
                  <a:gd name="connsiteY118" fmla="*/ 84513 h 180670"/>
                  <a:gd name="connsiteX119" fmla="*/ 176594 w 188659"/>
                  <a:gd name="connsiteY119" fmla="*/ 95847 h 180670"/>
                  <a:gd name="connsiteX120" fmla="*/ 164894 w 188659"/>
                  <a:gd name="connsiteY120" fmla="*/ 109741 h 180670"/>
                  <a:gd name="connsiteX121" fmla="*/ 50090 w 188659"/>
                  <a:gd name="connsiteY121" fmla="*/ 67329 h 180670"/>
                  <a:gd name="connsiteX122" fmla="*/ 57768 w 188659"/>
                  <a:gd name="connsiteY122" fmla="*/ 59651 h 180670"/>
                  <a:gd name="connsiteX123" fmla="*/ 65446 w 188659"/>
                  <a:gd name="connsiteY123" fmla="*/ 67329 h 180670"/>
                  <a:gd name="connsiteX124" fmla="*/ 57768 w 188659"/>
                  <a:gd name="connsiteY124" fmla="*/ 75007 h 180670"/>
                  <a:gd name="connsiteX125" fmla="*/ 50090 w 188659"/>
                  <a:gd name="connsiteY125" fmla="*/ 67329 h 180670"/>
                  <a:gd name="connsiteX126" fmla="*/ 140763 w 188659"/>
                  <a:gd name="connsiteY126" fmla="*/ 67329 h 180670"/>
                  <a:gd name="connsiteX127" fmla="*/ 133085 w 188659"/>
                  <a:gd name="connsiteY127" fmla="*/ 75007 h 180670"/>
                  <a:gd name="connsiteX128" fmla="*/ 125773 w 188659"/>
                  <a:gd name="connsiteY128" fmla="*/ 67329 h 180670"/>
                  <a:gd name="connsiteX129" fmla="*/ 133451 w 188659"/>
                  <a:gd name="connsiteY129" fmla="*/ 59651 h 180670"/>
                  <a:gd name="connsiteX130" fmla="*/ 140763 w 188659"/>
                  <a:gd name="connsiteY130" fmla="*/ 67329 h 180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</a:cxnLst>
                <a:rect l="l" t="t" r="r" b="b"/>
                <a:pathLst>
                  <a:path w="188659" h="180670">
                    <a:moveTo>
                      <a:pt x="183175" y="70620"/>
                    </a:moveTo>
                    <a:cubicBezTo>
                      <a:pt x="183175" y="69888"/>
                      <a:pt x="183175" y="69157"/>
                      <a:pt x="183175" y="68426"/>
                    </a:cubicBezTo>
                    <a:cubicBezTo>
                      <a:pt x="183175" y="68060"/>
                      <a:pt x="183175" y="67695"/>
                      <a:pt x="183175" y="67329"/>
                    </a:cubicBezTo>
                    <a:cubicBezTo>
                      <a:pt x="183175" y="66232"/>
                      <a:pt x="182810" y="65501"/>
                      <a:pt x="182444" y="64770"/>
                    </a:cubicBezTo>
                    <a:cubicBezTo>
                      <a:pt x="180616" y="57092"/>
                      <a:pt x="175497" y="50511"/>
                      <a:pt x="168185" y="46854"/>
                    </a:cubicBezTo>
                    <a:cubicBezTo>
                      <a:pt x="168185" y="46854"/>
                      <a:pt x="168185" y="46854"/>
                      <a:pt x="168185" y="46489"/>
                    </a:cubicBezTo>
                    <a:cubicBezTo>
                      <a:pt x="168185" y="32595"/>
                      <a:pt x="157216" y="21261"/>
                      <a:pt x="143323" y="20530"/>
                    </a:cubicBezTo>
                    <a:cubicBezTo>
                      <a:pt x="139666" y="10293"/>
                      <a:pt x="129795" y="3346"/>
                      <a:pt x="118826" y="3346"/>
                    </a:cubicBezTo>
                    <a:cubicBezTo>
                      <a:pt x="116632" y="3346"/>
                      <a:pt x="114439" y="3711"/>
                      <a:pt x="112245" y="4077"/>
                    </a:cubicBezTo>
                    <a:cubicBezTo>
                      <a:pt x="107492" y="1152"/>
                      <a:pt x="102008" y="-310"/>
                      <a:pt x="96523" y="55"/>
                    </a:cubicBezTo>
                    <a:cubicBezTo>
                      <a:pt x="96158" y="55"/>
                      <a:pt x="95792" y="55"/>
                      <a:pt x="95061" y="55"/>
                    </a:cubicBezTo>
                    <a:cubicBezTo>
                      <a:pt x="93964" y="55"/>
                      <a:pt x="93233" y="421"/>
                      <a:pt x="92136" y="786"/>
                    </a:cubicBezTo>
                    <a:cubicBezTo>
                      <a:pt x="88480" y="1518"/>
                      <a:pt x="85189" y="2980"/>
                      <a:pt x="82264" y="5174"/>
                    </a:cubicBezTo>
                    <a:cubicBezTo>
                      <a:pt x="78608" y="2980"/>
                      <a:pt x="74221" y="1883"/>
                      <a:pt x="69833" y="1883"/>
                    </a:cubicBezTo>
                    <a:cubicBezTo>
                      <a:pt x="58133" y="1883"/>
                      <a:pt x="48262" y="9561"/>
                      <a:pt x="44971" y="20530"/>
                    </a:cubicBezTo>
                    <a:cubicBezTo>
                      <a:pt x="30346" y="19799"/>
                      <a:pt x="18281" y="31133"/>
                      <a:pt x="17915" y="45758"/>
                    </a:cubicBezTo>
                    <a:cubicBezTo>
                      <a:pt x="7312" y="49048"/>
                      <a:pt x="0" y="58920"/>
                      <a:pt x="0" y="70254"/>
                    </a:cubicBezTo>
                    <a:cubicBezTo>
                      <a:pt x="0" y="83782"/>
                      <a:pt x="10237" y="94751"/>
                      <a:pt x="23400" y="96213"/>
                    </a:cubicBezTo>
                    <a:cubicBezTo>
                      <a:pt x="23400" y="96213"/>
                      <a:pt x="23400" y="96579"/>
                      <a:pt x="23400" y="96579"/>
                    </a:cubicBezTo>
                    <a:cubicBezTo>
                      <a:pt x="23400" y="110838"/>
                      <a:pt x="35099" y="122538"/>
                      <a:pt x="49359" y="122538"/>
                    </a:cubicBezTo>
                    <a:cubicBezTo>
                      <a:pt x="52649" y="122538"/>
                      <a:pt x="56305" y="121806"/>
                      <a:pt x="59230" y="120344"/>
                    </a:cubicBezTo>
                    <a:cubicBezTo>
                      <a:pt x="63252" y="123269"/>
                      <a:pt x="68371" y="125097"/>
                      <a:pt x="73489" y="125463"/>
                    </a:cubicBezTo>
                    <a:lnTo>
                      <a:pt x="111148" y="178477"/>
                    </a:lnTo>
                    <a:cubicBezTo>
                      <a:pt x="112245" y="179940"/>
                      <a:pt x="113708" y="180671"/>
                      <a:pt x="115536" y="180671"/>
                    </a:cubicBezTo>
                    <a:cubicBezTo>
                      <a:pt x="116267" y="180671"/>
                      <a:pt x="116632" y="180671"/>
                      <a:pt x="117364" y="180305"/>
                    </a:cubicBezTo>
                    <a:lnTo>
                      <a:pt x="125407" y="177380"/>
                    </a:lnTo>
                    <a:cubicBezTo>
                      <a:pt x="127967" y="176649"/>
                      <a:pt x="129429" y="173724"/>
                      <a:pt x="129064" y="171165"/>
                    </a:cubicBezTo>
                    <a:lnTo>
                      <a:pt x="122848" y="138625"/>
                    </a:lnTo>
                    <a:lnTo>
                      <a:pt x="126139" y="136431"/>
                    </a:lnTo>
                    <a:cubicBezTo>
                      <a:pt x="130892" y="142647"/>
                      <a:pt x="138204" y="145937"/>
                      <a:pt x="146248" y="145937"/>
                    </a:cubicBezTo>
                    <a:cubicBezTo>
                      <a:pt x="160507" y="145937"/>
                      <a:pt x="172207" y="134237"/>
                      <a:pt x="172207" y="119978"/>
                    </a:cubicBezTo>
                    <a:cubicBezTo>
                      <a:pt x="172207" y="119613"/>
                      <a:pt x="172207" y="118881"/>
                      <a:pt x="172207" y="118516"/>
                    </a:cubicBezTo>
                    <a:cubicBezTo>
                      <a:pt x="182078" y="114860"/>
                      <a:pt x="188659" y="105353"/>
                      <a:pt x="188659" y="94385"/>
                    </a:cubicBezTo>
                    <a:cubicBezTo>
                      <a:pt x="188659" y="88169"/>
                      <a:pt x="186466" y="81954"/>
                      <a:pt x="182078" y="77566"/>
                    </a:cubicBezTo>
                    <a:cubicBezTo>
                      <a:pt x="182810" y="75738"/>
                      <a:pt x="183175" y="73179"/>
                      <a:pt x="183175" y="70620"/>
                    </a:cubicBezTo>
                    <a:close/>
                    <a:moveTo>
                      <a:pt x="95427" y="36617"/>
                    </a:moveTo>
                    <a:cubicBezTo>
                      <a:pt x="99448" y="36617"/>
                      <a:pt x="103105" y="39908"/>
                      <a:pt x="103105" y="44295"/>
                    </a:cubicBezTo>
                    <a:cubicBezTo>
                      <a:pt x="103105" y="48683"/>
                      <a:pt x="99814" y="51973"/>
                      <a:pt x="95427" y="51973"/>
                    </a:cubicBezTo>
                    <a:cubicBezTo>
                      <a:pt x="91039" y="51973"/>
                      <a:pt x="87749" y="48683"/>
                      <a:pt x="87749" y="44295"/>
                    </a:cubicBezTo>
                    <a:cubicBezTo>
                      <a:pt x="87749" y="39908"/>
                      <a:pt x="91039" y="36617"/>
                      <a:pt x="95427" y="36617"/>
                    </a:cubicBezTo>
                    <a:close/>
                    <a:moveTo>
                      <a:pt x="95427" y="98407"/>
                    </a:moveTo>
                    <a:cubicBezTo>
                      <a:pt x="91405" y="98407"/>
                      <a:pt x="87749" y="95116"/>
                      <a:pt x="87749" y="90729"/>
                    </a:cubicBezTo>
                    <a:cubicBezTo>
                      <a:pt x="87749" y="86341"/>
                      <a:pt x="91039" y="83051"/>
                      <a:pt x="95427" y="83051"/>
                    </a:cubicBezTo>
                    <a:cubicBezTo>
                      <a:pt x="99814" y="83051"/>
                      <a:pt x="103105" y="86341"/>
                      <a:pt x="103105" y="90729"/>
                    </a:cubicBezTo>
                    <a:cubicBezTo>
                      <a:pt x="103105" y="95116"/>
                      <a:pt x="99448" y="98407"/>
                      <a:pt x="95427" y="98407"/>
                    </a:cubicBezTo>
                    <a:close/>
                    <a:moveTo>
                      <a:pt x="164894" y="109741"/>
                    </a:moveTo>
                    <a:cubicBezTo>
                      <a:pt x="163432" y="110107"/>
                      <a:pt x="161969" y="110838"/>
                      <a:pt x="161238" y="112300"/>
                    </a:cubicBezTo>
                    <a:cubicBezTo>
                      <a:pt x="160507" y="113763"/>
                      <a:pt x="160141" y="115225"/>
                      <a:pt x="160507" y="116688"/>
                    </a:cubicBezTo>
                    <a:cubicBezTo>
                      <a:pt x="160872" y="118150"/>
                      <a:pt x="161238" y="119613"/>
                      <a:pt x="161238" y="120709"/>
                    </a:cubicBezTo>
                    <a:cubicBezTo>
                      <a:pt x="161238" y="129119"/>
                      <a:pt x="154657" y="135700"/>
                      <a:pt x="146248" y="135700"/>
                    </a:cubicBezTo>
                    <a:cubicBezTo>
                      <a:pt x="140398" y="135700"/>
                      <a:pt x="135279" y="132409"/>
                      <a:pt x="132720" y="127291"/>
                    </a:cubicBezTo>
                    <a:cubicBezTo>
                      <a:pt x="131988" y="125828"/>
                      <a:pt x="130892" y="124731"/>
                      <a:pt x="129429" y="124366"/>
                    </a:cubicBezTo>
                    <a:cubicBezTo>
                      <a:pt x="127967" y="124000"/>
                      <a:pt x="126504" y="124000"/>
                      <a:pt x="125042" y="125097"/>
                    </a:cubicBezTo>
                    <a:lnTo>
                      <a:pt x="113708" y="132044"/>
                    </a:lnTo>
                    <a:cubicBezTo>
                      <a:pt x="111879" y="133141"/>
                      <a:pt x="110783" y="135334"/>
                      <a:pt x="111148" y="137894"/>
                    </a:cubicBezTo>
                    <a:lnTo>
                      <a:pt x="116998" y="168606"/>
                    </a:lnTo>
                    <a:lnTo>
                      <a:pt x="100545" y="145572"/>
                    </a:lnTo>
                    <a:cubicBezTo>
                      <a:pt x="100545" y="145206"/>
                      <a:pt x="100545" y="145206"/>
                      <a:pt x="100545" y="144840"/>
                    </a:cubicBezTo>
                    <a:lnTo>
                      <a:pt x="100545" y="109010"/>
                    </a:lnTo>
                    <a:cubicBezTo>
                      <a:pt x="108223" y="106816"/>
                      <a:pt x="113708" y="99504"/>
                      <a:pt x="113708" y="91460"/>
                    </a:cubicBezTo>
                    <a:cubicBezTo>
                      <a:pt x="113708" y="81223"/>
                      <a:pt x="105298" y="72813"/>
                      <a:pt x="95061" y="72813"/>
                    </a:cubicBezTo>
                    <a:cubicBezTo>
                      <a:pt x="84824" y="72813"/>
                      <a:pt x="76414" y="81223"/>
                      <a:pt x="76414" y="91460"/>
                    </a:cubicBezTo>
                    <a:cubicBezTo>
                      <a:pt x="76414" y="99869"/>
                      <a:pt x="81899" y="106816"/>
                      <a:pt x="89577" y="109010"/>
                    </a:cubicBezTo>
                    <a:lnTo>
                      <a:pt x="89577" y="130216"/>
                    </a:lnTo>
                    <a:lnTo>
                      <a:pt x="80802" y="118150"/>
                    </a:lnTo>
                    <a:cubicBezTo>
                      <a:pt x="79705" y="116688"/>
                      <a:pt x="78242" y="115956"/>
                      <a:pt x="76414" y="115956"/>
                    </a:cubicBezTo>
                    <a:cubicBezTo>
                      <a:pt x="76414" y="115956"/>
                      <a:pt x="76049" y="115956"/>
                      <a:pt x="76049" y="115956"/>
                    </a:cubicBezTo>
                    <a:cubicBezTo>
                      <a:pt x="75683" y="115956"/>
                      <a:pt x="75318" y="115956"/>
                      <a:pt x="74952" y="115956"/>
                    </a:cubicBezTo>
                    <a:cubicBezTo>
                      <a:pt x="70930" y="115956"/>
                      <a:pt x="67274" y="114494"/>
                      <a:pt x="64349" y="111569"/>
                    </a:cubicBezTo>
                    <a:cubicBezTo>
                      <a:pt x="62521" y="109741"/>
                      <a:pt x="59596" y="109375"/>
                      <a:pt x="57402" y="110838"/>
                    </a:cubicBezTo>
                    <a:cubicBezTo>
                      <a:pt x="54843" y="112300"/>
                      <a:pt x="52284" y="113031"/>
                      <a:pt x="49359" y="113031"/>
                    </a:cubicBezTo>
                    <a:cubicBezTo>
                      <a:pt x="40949" y="113031"/>
                      <a:pt x="34368" y="106450"/>
                      <a:pt x="34368" y="98041"/>
                    </a:cubicBezTo>
                    <a:cubicBezTo>
                      <a:pt x="34368" y="96579"/>
                      <a:pt x="34734" y="95116"/>
                      <a:pt x="35099" y="93654"/>
                    </a:cubicBezTo>
                    <a:cubicBezTo>
                      <a:pt x="35831" y="91826"/>
                      <a:pt x="35099" y="89632"/>
                      <a:pt x="34003" y="88169"/>
                    </a:cubicBezTo>
                    <a:cubicBezTo>
                      <a:pt x="32540" y="86707"/>
                      <a:pt x="30712" y="85976"/>
                      <a:pt x="28884" y="86341"/>
                    </a:cubicBezTo>
                    <a:cubicBezTo>
                      <a:pt x="20475" y="88169"/>
                      <a:pt x="12431" y="81954"/>
                      <a:pt x="10969" y="73910"/>
                    </a:cubicBezTo>
                    <a:lnTo>
                      <a:pt x="39121" y="73910"/>
                    </a:lnTo>
                    <a:cubicBezTo>
                      <a:pt x="41315" y="81588"/>
                      <a:pt x="48627" y="87073"/>
                      <a:pt x="56671" y="87073"/>
                    </a:cubicBezTo>
                    <a:cubicBezTo>
                      <a:pt x="66908" y="87073"/>
                      <a:pt x="75318" y="78663"/>
                      <a:pt x="75318" y="68426"/>
                    </a:cubicBezTo>
                    <a:cubicBezTo>
                      <a:pt x="75318" y="58189"/>
                      <a:pt x="66908" y="49779"/>
                      <a:pt x="56671" y="49779"/>
                    </a:cubicBezTo>
                    <a:cubicBezTo>
                      <a:pt x="48262" y="49779"/>
                      <a:pt x="41315" y="55264"/>
                      <a:pt x="39121" y="62942"/>
                    </a:cubicBezTo>
                    <a:lnTo>
                      <a:pt x="13528" y="62942"/>
                    </a:lnTo>
                    <a:cubicBezTo>
                      <a:pt x="16087" y="59651"/>
                      <a:pt x="19743" y="57457"/>
                      <a:pt x="24131" y="56726"/>
                    </a:cubicBezTo>
                    <a:cubicBezTo>
                      <a:pt x="25593" y="56726"/>
                      <a:pt x="27056" y="55629"/>
                      <a:pt x="27787" y="54532"/>
                    </a:cubicBezTo>
                    <a:cubicBezTo>
                      <a:pt x="28884" y="53436"/>
                      <a:pt x="29250" y="51973"/>
                      <a:pt x="28884" y="50145"/>
                    </a:cubicBezTo>
                    <a:cubicBezTo>
                      <a:pt x="28884" y="49414"/>
                      <a:pt x="28518" y="48317"/>
                      <a:pt x="28518" y="47586"/>
                    </a:cubicBezTo>
                    <a:cubicBezTo>
                      <a:pt x="28518" y="39176"/>
                      <a:pt x="35099" y="32595"/>
                      <a:pt x="43509" y="32595"/>
                    </a:cubicBezTo>
                    <a:cubicBezTo>
                      <a:pt x="44606" y="32595"/>
                      <a:pt x="46068" y="32961"/>
                      <a:pt x="47530" y="33327"/>
                    </a:cubicBezTo>
                    <a:cubicBezTo>
                      <a:pt x="48993" y="33692"/>
                      <a:pt x="50821" y="33327"/>
                      <a:pt x="52284" y="32595"/>
                    </a:cubicBezTo>
                    <a:cubicBezTo>
                      <a:pt x="53746" y="31498"/>
                      <a:pt x="54477" y="30036"/>
                      <a:pt x="54477" y="28573"/>
                    </a:cubicBezTo>
                    <a:cubicBezTo>
                      <a:pt x="54843" y="20530"/>
                      <a:pt x="61424" y="14314"/>
                      <a:pt x="69468" y="14314"/>
                    </a:cubicBezTo>
                    <a:cubicBezTo>
                      <a:pt x="73855" y="14314"/>
                      <a:pt x="77146" y="16142"/>
                      <a:pt x="78974" y="17971"/>
                    </a:cubicBezTo>
                    <a:cubicBezTo>
                      <a:pt x="81167" y="19799"/>
                      <a:pt x="84458" y="19433"/>
                      <a:pt x="86652" y="17605"/>
                    </a:cubicBezTo>
                    <a:cubicBezTo>
                      <a:pt x="87383" y="16874"/>
                      <a:pt x="88114" y="16142"/>
                      <a:pt x="89211" y="15411"/>
                    </a:cubicBezTo>
                    <a:lnTo>
                      <a:pt x="89211" y="27842"/>
                    </a:lnTo>
                    <a:cubicBezTo>
                      <a:pt x="81533" y="30036"/>
                      <a:pt x="76049" y="37348"/>
                      <a:pt x="76049" y="45392"/>
                    </a:cubicBezTo>
                    <a:cubicBezTo>
                      <a:pt x="76049" y="55629"/>
                      <a:pt x="84458" y="64039"/>
                      <a:pt x="94695" y="64039"/>
                    </a:cubicBezTo>
                    <a:cubicBezTo>
                      <a:pt x="104933" y="64039"/>
                      <a:pt x="113342" y="55629"/>
                      <a:pt x="113342" y="45392"/>
                    </a:cubicBezTo>
                    <a:cubicBezTo>
                      <a:pt x="113342" y="36983"/>
                      <a:pt x="107858" y="30036"/>
                      <a:pt x="100180" y="27842"/>
                    </a:cubicBezTo>
                    <a:lnTo>
                      <a:pt x="100180" y="12852"/>
                    </a:lnTo>
                    <a:cubicBezTo>
                      <a:pt x="103105" y="13583"/>
                      <a:pt x="105664" y="14680"/>
                      <a:pt x="107126" y="16142"/>
                    </a:cubicBezTo>
                    <a:cubicBezTo>
                      <a:pt x="108589" y="17239"/>
                      <a:pt x="110783" y="17605"/>
                      <a:pt x="112611" y="16874"/>
                    </a:cubicBezTo>
                    <a:cubicBezTo>
                      <a:pt x="114439" y="16142"/>
                      <a:pt x="116267" y="15777"/>
                      <a:pt x="118095" y="15777"/>
                    </a:cubicBezTo>
                    <a:cubicBezTo>
                      <a:pt x="125407" y="15777"/>
                      <a:pt x="131623" y="21261"/>
                      <a:pt x="132720" y="28573"/>
                    </a:cubicBezTo>
                    <a:cubicBezTo>
                      <a:pt x="133085" y="30036"/>
                      <a:pt x="133817" y="31133"/>
                      <a:pt x="134913" y="32230"/>
                    </a:cubicBezTo>
                    <a:cubicBezTo>
                      <a:pt x="136010" y="32961"/>
                      <a:pt x="137473" y="33327"/>
                      <a:pt x="138935" y="33327"/>
                    </a:cubicBezTo>
                    <a:cubicBezTo>
                      <a:pt x="139666" y="33327"/>
                      <a:pt x="140398" y="32961"/>
                      <a:pt x="141129" y="32961"/>
                    </a:cubicBezTo>
                    <a:cubicBezTo>
                      <a:pt x="149538" y="32961"/>
                      <a:pt x="156119" y="39542"/>
                      <a:pt x="156119" y="47951"/>
                    </a:cubicBezTo>
                    <a:cubicBezTo>
                      <a:pt x="156119" y="49048"/>
                      <a:pt x="156119" y="49779"/>
                      <a:pt x="155754" y="50876"/>
                    </a:cubicBezTo>
                    <a:cubicBezTo>
                      <a:pt x="155022" y="53801"/>
                      <a:pt x="156851" y="56361"/>
                      <a:pt x="159776" y="57092"/>
                    </a:cubicBezTo>
                    <a:cubicBezTo>
                      <a:pt x="163432" y="57823"/>
                      <a:pt x="166357" y="60017"/>
                      <a:pt x="168185" y="62942"/>
                    </a:cubicBezTo>
                    <a:lnTo>
                      <a:pt x="149904" y="62942"/>
                    </a:lnTo>
                    <a:cubicBezTo>
                      <a:pt x="147710" y="55264"/>
                      <a:pt x="140398" y="49779"/>
                      <a:pt x="132354" y="49779"/>
                    </a:cubicBezTo>
                    <a:cubicBezTo>
                      <a:pt x="122117" y="49779"/>
                      <a:pt x="113708" y="58189"/>
                      <a:pt x="113708" y="68426"/>
                    </a:cubicBezTo>
                    <a:cubicBezTo>
                      <a:pt x="113708" y="78663"/>
                      <a:pt x="122117" y="87073"/>
                      <a:pt x="132354" y="87073"/>
                    </a:cubicBezTo>
                    <a:cubicBezTo>
                      <a:pt x="140763" y="87073"/>
                      <a:pt x="147710" y="81588"/>
                      <a:pt x="149904" y="73910"/>
                    </a:cubicBezTo>
                    <a:lnTo>
                      <a:pt x="170744" y="73910"/>
                    </a:lnTo>
                    <a:cubicBezTo>
                      <a:pt x="170378" y="75373"/>
                      <a:pt x="170013" y="76470"/>
                      <a:pt x="169647" y="77932"/>
                    </a:cubicBezTo>
                    <a:cubicBezTo>
                      <a:pt x="168550" y="80126"/>
                      <a:pt x="169282" y="82685"/>
                      <a:pt x="171110" y="84513"/>
                    </a:cubicBezTo>
                    <a:cubicBezTo>
                      <a:pt x="174400" y="87438"/>
                      <a:pt x="176594" y="91460"/>
                      <a:pt x="176594" y="95847"/>
                    </a:cubicBezTo>
                    <a:cubicBezTo>
                      <a:pt x="177691" y="102429"/>
                      <a:pt x="172207" y="108644"/>
                      <a:pt x="164894" y="109741"/>
                    </a:cubicBezTo>
                    <a:close/>
                    <a:moveTo>
                      <a:pt x="50090" y="67329"/>
                    </a:moveTo>
                    <a:cubicBezTo>
                      <a:pt x="50090" y="63307"/>
                      <a:pt x="53380" y="59651"/>
                      <a:pt x="57768" y="59651"/>
                    </a:cubicBezTo>
                    <a:cubicBezTo>
                      <a:pt x="62155" y="59651"/>
                      <a:pt x="65446" y="62942"/>
                      <a:pt x="65446" y="67329"/>
                    </a:cubicBezTo>
                    <a:cubicBezTo>
                      <a:pt x="65446" y="71717"/>
                      <a:pt x="62155" y="75007"/>
                      <a:pt x="57768" y="75007"/>
                    </a:cubicBezTo>
                    <a:cubicBezTo>
                      <a:pt x="53380" y="75007"/>
                      <a:pt x="50090" y="71717"/>
                      <a:pt x="50090" y="67329"/>
                    </a:cubicBezTo>
                    <a:close/>
                    <a:moveTo>
                      <a:pt x="140763" y="67329"/>
                    </a:moveTo>
                    <a:cubicBezTo>
                      <a:pt x="140763" y="71351"/>
                      <a:pt x="137473" y="75007"/>
                      <a:pt x="133085" y="75007"/>
                    </a:cubicBezTo>
                    <a:cubicBezTo>
                      <a:pt x="128698" y="75007"/>
                      <a:pt x="125773" y="71717"/>
                      <a:pt x="125773" y="67329"/>
                    </a:cubicBezTo>
                    <a:cubicBezTo>
                      <a:pt x="125773" y="62942"/>
                      <a:pt x="129064" y="59651"/>
                      <a:pt x="133451" y="59651"/>
                    </a:cubicBezTo>
                    <a:cubicBezTo>
                      <a:pt x="137838" y="59651"/>
                      <a:pt x="140763" y="63307"/>
                      <a:pt x="140763" y="67329"/>
                    </a:cubicBezTo>
                    <a:close/>
                  </a:path>
                </a:pathLst>
              </a:custGeom>
              <a:solidFill>
                <a:srgbClr val="231F20"/>
              </a:solidFill>
              <a:ln w="3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id="{8F0D5DA8-7590-4EB0-A1CD-B9E4A8D0E785}"/>
              </a:ext>
            </a:extLst>
          </p:cNvPr>
          <p:cNvGrpSpPr/>
          <p:nvPr/>
        </p:nvGrpSpPr>
        <p:grpSpPr>
          <a:xfrm>
            <a:off x="3123027" y="3855161"/>
            <a:ext cx="741385" cy="720100"/>
            <a:chOff x="1729142" y="2873137"/>
            <a:chExt cx="550305" cy="550305"/>
          </a:xfrm>
        </p:grpSpPr>
        <p:sp>
          <p:nvSpPr>
            <p:cNvPr id="76" name="Овал 75">
              <a:extLst>
                <a:ext uri="{FF2B5EF4-FFF2-40B4-BE49-F238E27FC236}">
                  <a16:creationId xmlns:a16="http://schemas.microsoft.com/office/drawing/2014/main" id="{321A5262-156D-47CF-B513-E3422AB98CFE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77" name="Группа 76">
              <a:extLst>
                <a:ext uri="{FF2B5EF4-FFF2-40B4-BE49-F238E27FC236}">
                  <a16:creationId xmlns:a16="http://schemas.microsoft.com/office/drawing/2014/main" id="{D8E52D04-BD78-4DB4-8CAF-B69AA42358EA}"/>
                </a:ext>
              </a:extLst>
            </p:cNvPr>
            <p:cNvGrpSpPr/>
            <p:nvPr/>
          </p:nvGrpSpPr>
          <p:grpSpPr>
            <a:xfrm>
              <a:off x="1875677" y="2993010"/>
              <a:ext cx="262461" cy="306995"/>
              <a:chOff x="1875677" y="2993010"/>
              <a:chExt cx="262461" cy="306995"/>
            </a:xfrm>
          </p:grpSpPr>
          <p:sp>
            <p:nvSpPr>
              <p:cNvPr id="78" name="Рисунок 55">
                <a:extLst>
                  <a:ext uri="{FF2B5EF4-FFF2-40B4-BE49-F238E27FC236}">
                    <a16:creationId xmlns:a16="http://schemas.microsoft.com/office/drawing/2014/main" id="{13D955F8-DF49-4820-9236-A5CC81334C17}"/>
                  </a:ext>
                </a:extLst>
              </p:cNvPr>
              <p:cNvSpPr/>
              <p:nvPr/>
            </p:nvSpPr>
            <p:spPr>
              <a:xfrm>
                <a:off x="1875677" y="2993010"/>
                <a:ext cx="262461" cy="306995"/>
              </a:xfrm>
              <a:custGeom>
                <a:avLst/>
                <a:gdLst>
                  <a:gd name="connsiteX0" fmla="*/ 257108 w 262461"/>
                  <a:gd name="connsiteY0" fmla="*/ 266639 h 306995"/>
                  <a:gd name="connsiteX1" fmla="*/ 121117 w 262461"/>
                  <a:gd name="connsiteY1" fmla="*/ 266639 h 306995"/>
                  <a:gd name="connsiteX2" fmla="*/ 120910 w 262461"/>
                  <a:gd name="connsiteY2" fmla="*/ 266618 h 306995"/>
                  <a:gd name="connsiteX3" fmla="*/ 28925 w 262461"/>
                  <a:gd name="connsiteY3" fmla="*/ 174633 h 306995"/>
                  <a:gd name="connsiteX4" fmla="*/ 56089 w 262461"/>
                  <a:gd name="connsiteY4" fmla="*/ 109380 h 306995"/>
                  <a:gd name="connsiteX5" fmla="*/ 77375 w 262461"/>
                  <a:gd name="connsiteY5" fmla="*/ 117835 h 306995"/>
                  <a:gd name="connsiteX6" fmla="*/ 77746 w 262461"/>
                  <a:gd name="connsiteY6" fmla="*/ 117835 h 306995"/>
                  <a:gd name="connsiteX7" fmla="*/ 96113 w 262461"/>
                  <a:gd name="connsiteY7" fmla="*/ 112011 h 306995"/>
                  <a:gd name="connsiteX8" fmla="*/ 122828 w 262461"/>
                  <a:gd name="connsiteY8" fmla="*/ 139367 h 306995"/>
                  <a:gd name="connsiteX9" fmla="*/ 126652 w 262461"/>
                  <a:gd name="connsiteY9" fmla="*/ 140978 h 306995"/>
                  <a:gd name="connsiteX10" fmla="*/ 130388 w 262461"/>
                  <a:gd name="connsiteY10" fmla="*/ 139456 h 306995"/>
                  <a:gd name="connsiteX11" fmla="*/ 135902 w 262461"/>
                  <a:gd name="connsiteY11" fmla="*/ 134074 h 306995"/>
                  <a:gd name="connsiteX12" fmla="*/ 150922 w 262461"/>
                  <a:gd name="connsiteY12" fmla="*/ 149497 h 306995"/>
                  <a:gd name="connsiteX13" fmla="*/ 154682 w 262461"/>
                  <a:gd name="connsiteY13" fmla="*/ 151112 h 306995"/>
                  <a:gd name="connsiteX14" fmla="*/ 154754 w 262461"/>
                  <a:gd name="connsiteY14" fmla="*/ 151112 h 306995"/>
                  <a:gd name="connsiteX15" fmla="*/ 158489 w 262461"/>
                  <a:gd name="connsiteY15" fmla="*/ 149593 h 306995"/>
                  <a:gd name="connsiteX16" fmla="*/ 177676 w 262461"/>
                  <a:gd name="connsiteY16" fmla="*/ 130873 h 306995"/>
                  <a:gd name="connsiteX17" fmla="*/ 179287 w 262461"/>
                  <a:gd name="connsiteY17" fmla="*/ 127109 h 306995"/>
                  <a:gd name="connsiteX18" fmla="*/ 177765 w 262461"/>
                  <a:gd name="connsiteY18" fmla="*/ 123310 h 306995"/>
                  <a:gd name="connsiteX19" fmla="*/ 162724 w 262461"/>
                  <a:gd name="connsiteY19" fmla="*/ 107901 h 306995"/>
                  <a:gd name="connsiteX20" fmla="*/ 167204 w 262461"/>
                  <a:gd name="connsiteY20" fmla="*/ 103531 h 306995"/>
                  <a:gd name="connsiteX21" fmla="*/ 168815 w 262461"/>
                  <a:gd name="connsiteY21" fmla="*/ 99771 h 306995"/>
                  <a:gd name="connsiteX22" fmla="*/ 167293 w 262461"/>
                  <a:gd name="connsiteY22" fmla="*/ 95971 h 306995"/>
                  <a:gd name="connsiteX23" fmla="*/ 83434 w 262461"/>
                  <a:gd name="connsiteY23" fmla="*/ 10049 h 306995"/>
                  <a:gd name="connsiteX24" fmla="*/ 82903 w 262461"/>
                  <a:gd name="connsiteY24" fmla="*/ 9603 h 306995"/>
                  <a:gd name="connsiteX25" fmla="*/ 82515 w 262461"/>
                  <a:gd name="connsiteY25" fmla="*/ 9008 h 306995"/>
                  <a:gd name="connsiteX26" fmla="*/ 39087 w 262461"/>
                  <a:gd name="connsiteY26" fmla="*/ 8858 h 306995"/>
                  <a:gd name="connsiteX27" fmla="*/ 37878 w 262461"/>
                  <a:gd name="connsiteY27" fmla="*/ 51812 h 306995"/>
                  <a:gd name="connsiteX28" fmla="*/ 38966 w 262461"/>
                  <a:gd name="connsiteY28" fmla="*/ 53491 h 306995"/>
                  <a:gd name="connsiteX29" fmla="*/ 51922 w 262461"/>
                  <a:gd name="connsiteY29" fmla="*/ 66757 h 306995"/>
                  <a:gd name="connsiteX30" fmla="*/ 45642 w 262461"/>
                  <a:gd name="connsiteY30" fmla="*/ 85392 h 306995"/>
                  <a:gd name="connsiteX31" fmla="*/ 49470 w 262461"/>
                  <a:gd name="connsiteY31" fmla="*/ 100933 h 306995"/>
                  <a:gd name="connsiteX32" fmla="*/ 18242 w 262461"/>
                  <a:gd name="connsiteY32" fmla="*/ 174633 h 306995"/>
                  <a:gd name="connsiteX33" fmla="*/ 75408 w 262461"/>
                  <a:gd name="connsiteY33" fmla="*/ 266639 h 306995"/>
                  <a:gd name="connsiteX34" fmla="*/ 5347 w 262461"/>
                  <a:gd name="connsiteY34" fmla="*/ 266639 h 306995"/>
                  <a:gd name="connsiteX35" fmla="*/ 0 w 262461"/>
                  <a:gd name="connsiteY35" fmla="*/ 271986 h 306995"/>
                  <a:gd name="connsiteX36" fmla="*/ 0 w 262461"/>
                  <a:gd name="connsiteY36" fmla="*/ 301649 h 306995"/>
                  <a:gd name="connsiteX37" fmla="*/ 5347 w 262461"/>
                  <a:gd name="connsiteY37" fmla="*/ 306995 h 306995"/>
                  <a:gd name="connsiteX38" fmla="*/ 257115 w 262461"/>
                  <a:gd name="connsiteY38" fmla="*/ 306995 h 306995"/>
                  <a:gd name="connsiteX39" fmla="*/ 262461 w 262461"/>
                  <a:gd name="connsiteY39" fmla="*/ 301649 h 306995"/>
                  <a:gd name="connsiteX40" fmla="*/ 262461 w 262461"/>
                  <a:gd name="connsiteY40" fmla="*/ 271986 h 306995"/>
                  <a:gd name="connsiteX41" fmla="*/ 257108 w 262461"/>
                  <a:gd name="connsiteY41" fmla="*/ 266639 h 306995"/>
                  <a:gd name="connsiteX42" fmla="*/ 166377 w 262461"/>
                  <a:gd name="connsiteY42" fmla="*/ 126952 h 306995"/>
                  <a:gd name="connsiteX43" fmla="*/ 154850 w 262461"/>
                  <a:gd name="connsiteY43" fmla="*/ 138201 h 306995"/>
                  <a:gd name="connsiteX44" fmla="*/ 143554 w 262461"/>
                  <a:gd name="connsiteY44" fmla="*/ 126607 h 306995"/>
                  <a:gd name="connsiteX45" fmla="*/ 155067 w 262461"/>
                  <a:gd name="connsiteY45" fmla="*/ 115368 h 306995"/>
                  <a:gd name="connsiteX46" fmla="*/ 166377 w 262461"/>
                  <a:gd name="connsiteY46" fmla="*/ 126952 h 306995"/>
                  <a:gd name="connsiteX47" fmla="*/ 46561 w 262461"/>
                  <a:gd name="connsiteY47" fmla="*/ 16500 h 306995"/>
                  <a:gd name="connsiteX48" fmla="*/ 71783 w 262461"/>
                  <a:gd name="connsiteY48" fmla="*/ 13952 h 306995"/>
                  <a:gd name="connsiteX49" fmla="*/ 43446 w 262461"/>
                  <a:gd name="connsiteY49" fmla="*/ 41639 h 306995"/>
                  <a:gd name="connsiteX50" fmla="*/ 46561 w 262461"/>
                  <a:gd name="connsiteY50" fmla="*/ 16500 h 306995"/>
                  <a:gd name="connsiteX51" fmla="*/ 79514 w 262461"/>
                  <a:gd name="connsiteY51" fmla="*/ 21344 h 306995"/>
                  <a:gd name="connsiteX52" fmla="*/ 155905 w 262461"/>
                  <a:gd name="connsiteY52" fmla="*/ 99610 h 306995"/>
                  <a:gd name="connsiteX53" fmla="*/ 126741 w 262461"/>
                  <a:gd name="connsiteY53" fmla="*/ 128072 h 306995"/>
                  <a:gd name="connsiteX54" fmla="*/ 50347 w 262461"/>
                  <a:gd name="connsiteY54" fmla="*/ 49845 h 306995"/>
                  <a:gd name="connsiteX55" fmla="*/ 79514 w 262461"/>
                  <a:gd name="connsiteY55" fmla="*/ 21344 h 306995"/>
                  <a:gd name="connsiteX56" fmla="*/ 88503 w 262461"/>
                  <a:gd name="connsiteY56" fmla="*/ 104222 h 306995"/>
                  <a:gd name="connsiteX57" fmla="*/ 77493 w 262461"/>
                  <a:gd name="connsiteY57" fmla="*/ 107142 h 306995"/>
                  <a:gd name="connsiteX58" fmla="*/ 62423 w 262461"/>
                  <a:gd name="connsiteY58" fmla="*/ 100690 h 306995"/>
                  <a:gd name="connsiteX59" fmla="*/ 56324 w 262461"/>
                  <a:gd name="connsiteY59" fmla="*/ 85517 h 306995"/>
                  <a:gd name="connsiteX60" fmla="*/ 59525 w 262461"/>
                  <a:gd name="connsiteY60" fmla="*/ 74553 h 306995"/>
                  <a:gd name="connsiteX61" fmla="*/ 88503 w 262461"/>
                  <a:gd name="connsiteY61" fmla="*/ 104222 h 306995"/>
                  <a:gd name="connsiteX62" fmla="*/ 251761 w 262461"/>
                  <a:gd name="connsiteY62" fmla="*/ 296302 h 306995"/>
                  <a:gd name="connsiteX63" fmla="*/ 10686 w 262461"/>
                  <a:gd name="connsiteY63" fmla="*/ 296302 h 306995"/>
                  <a:gd name="connsiteX64" fmla="*/ 10686 w 262461"/>
                  <a:gd name="connsiteY64" fmla="*/ 277333 h 306995"/>
                  <a:gd name="connsiteX65" fmla="*/ 251761 w 262461"/>
                  <a:gd name="connsiteY65" fmla="*/ 277333 h 306995"/>
                  <a:gd name="connsiteX66" fmla="*/ 251761 w 262461"/>
                  <a:gd name="connsiteY66" fmla="*/ 296302 h 306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262461" h="306995">
                    <a:moveTo>
                      <a:pt x="257108" y="266639"/>
                    </a:moveTo>
                    <a:lnTo>
                      <a:pt x="121117" y="266639"/>
                    </a:lnTo>
                    <a:cubicBezTo>
                      <a:pt x="121046" y="266636"/>
                      <a:pt x="120981" y="266618"/>
                      <a:pt x="120910" y="266618"/>
                    </a:cubicBezTo>
                    <a:cubicBezTo>
                      <a:pt x="70193" y="266618"/>
                      <a:pt x="28925" y="225354"/>
                      <a:pt x="28925" y="174633"/>
                    </a:cubicBezTo>
                    <a:cubicBezTo>
                      <a:pt x="28925" y="150117"/>
                      <a:pt x="38773" y="126596"/>
                      <a:pt x="56089" y="109380"/>
                    </a:cubicBezTo>
                    <a:cubicBezTo>
                      <a:pt x="61920" y="114737"/>
                      <a:pt x="69398" y="117742"/>
                      <a:pt x="77375" y="117835"/>
                    </a:cubicBezTo>
                    <a:cubicBezTo>
                      <a:pt x="77496" y="117835"/>
                      <a:pt x="77621" y="117835"/>
                      <a:pt x="77746" y="117835"/>
                    </a:cubicBezTo>
                    <a:cubicBezTo>
                      <a:pt x="84411" y="117835"/>
                      <a:pt x="90759" y="115778"/>
                      <a:pt x="96113" y="112011"/>
                    </a:cubicBezTo>
                    <a:lnTo>
                      <a:pt x="122828" y="139367"/>
                    </a:lnTo>
                    <a:cubicBezTo>
                      <a:pt x="123876" y="140440"/>
                      <a:pt x="125266" y="140978"/>
                      <a:pt x="126652" y="140978"/>
                    </a:cubicBezTo>
                    <a:cubicBezTo>
                      <a:pt x="128000" y="140978"/>
                      <a:pt x="129347" y="140472"/>
                      <a:pt x="130388" y="139456"/>
                    </a:cubicBezTo>
                    <a:lnTo>
                      <a:pt x="135902" y="134074"/>
                    </a:lnTo>
                    <a:lnTo>
                      <a:pt x="150922" y="149497"/>
                    </a:lnTo>
                    <a:cubicBezTo>
                      <a:pt x="151909" y="150513"/>
                      <a:pt x="153264" y="151094"/>
                      <a:pt x="154682" y="151112"/>
                    </a:cubicBezTo>
                    <a:cubicBezTo>
                      <a:pt x="154707" y="151112"/>
                      <a:pt x="154729" y="151112"/>
                      <a:pt x="154754" y="151112"/>
                    </a:cubicBezTo>
                    <a:cubicBezTo>
                      <a:pt x="156151" y="151112"/>
                      <a:pt x="157491" y="150566"/>
                      <a:pt x="158489" y="149593"/>
                    </a:cubicBezTo>
                    <a:lnTo>
                      <a:pt x="177676" y="130873"/>
                    </a:lnTo>
                    <a:cubicBezTo>
                      <a:pt x="178688" y="129882"/>
                      <a:pt x="179269" y="128528"/>
                      <a:pt x="179287" y="127109"/>
                    </a:cubicBezTo>
                    <a:cubicBezTo>
                      <a:pt x="179305" y="125691"/>
                      <a:pt x="178760" y="124325"/>
                      <a:pt x="177765" y="123310"/>
                    </a:cubicBezTo>
                    <a:lnTo>
                      <a:pt x="162724" y="107901"/>
                    </a:lnTo>
                    <a:lnTo>
                      <a:pt x="167204" y="103531"/>
                    </a:lnTo>
                    <a:cubicBezTo>
                      <a:pt x="168216" y="102540"/>
                      <a:pt x="168797" y="101189"/>
                      <a:pt x="168815" y="99771"/>
                    </a:cubicBezTo>
                    <a:cubicBezTo>
                      <a:pt x="168833" y="98355"/>
                      <a:pt x="168288" y="96987"/>
                      <a:pt x="167293" y="95971"/>
                    </a:cubicBezTo>
                    <a:lnTo>
                      <a:pt x="83434" y="10049"/>
                    </a:lnTo>
                    <a:cubicBezTo>
                      <a:pt x="83270" y="9881"/>
                      <a:pt x="83085" y="9746"/>
                      <a:pt x="82903" y="9603"/>
                    </a:cubicBezTo>
                    <a:cubicBezTo>
                      <a:pt x="82761" y="9411"/>
                      <a:pt x="82690" y="9186"/>
                      <a:pt x="82515" y="9008"/>
                    </a:cubicBezTo>
                    <a:cubicBezTo>
                      <a:pt x="70728" y="-2940"/>
                      <a:pt x="51255" y="-3015"/>
                      <a:pt x="39087" y="8858"/>
                    </a:cubicBezTo>
                    <a:cubicBezTo>
                      <a:pt x="27100" y="20617"/>
                      <a:pt x="26611" y="39772"/>
                      <a:pt x="37878" y="51812"/>
                    </a:cubicBezTo>
                    <a:cubicBezTo>
                      <a:pt x="38131" y="52418"/>
                      <a:pt x="38477" y="52992"/>
                      <a:pt x="38966" y="53491"/>
                    </a:cubicBezTo>
                    <a:lnTo>
                      <a:pt x="51922" y="66757"/>
                    </a:lnTo>
                    <a:cubicBezTo>
                      <a:pt x="47941" y="72136"/>
                      <a:pt x="45716" y="78584"/>
                      <a:pt x="45642" y="85392"/>
                    </a:cubicBezTo>
                    <a:cubicBezTo>
                      <a:pt x="45577" y="90906"/>
                      <a:pt x="46918" y="96213"/>
                      <a:pt x="49470" y="100933"/>
                    </a:cubicBezTo>
                    <a:cubicBezTo>
                      <a:pt x="29591" y="120223"/>
                      <a:pt x="18242" y="146849"/>
                      <a:pt x="18242" y="174633"/>
                    </a:cubicBezTo>
                    <a:cubicBezTo>
                      <a:pt x="18242" y="214914"/>
                      <a:pt x="41568" y="249830"/>
                      <a:pt x="75408" y="266639"/>
                    </a:cubicBezTo>
                    <a:lnTo>
                      <a:pt x="5347" y="266639"/>
                    </a:lnTo>
                    <a:cubicBezTo>
                      <a:pt x="2395" y="266639"/>
                      <a:pt x="0" y="269031"/>
                      <a:pt x="0" y="271986"/>
                    </a:cubicBezTo>
                    <a:lnTo>
                      <a:pt x="0" y="301649"/>
                    </a:lnTo>
                    <a:cubicBezTo>
                      <a:pt x="0" y="304603"/>
                      <a:pt x="2395" y="306995"/>
                      <a:pt x="5347" y="306995"/>
                    </a:cubicBezTo>
                    <a:lnTo>
                      <a:pt x="257115" y="306995"/>
                    </a:lnTo>
                    <a:cubicBezTo>
                      <a:pt x="260066" y="306995"/>
                      <a:pt x="262461" y="304603"/>
                      <a:pt x="262461" y="301649"/>
                    </a:cubicBezTo>
                    <a:lnTo>
                      <a:pt x="262461" y="271986"/>
                    </a:lnTo>
                    <a:cubicBezTo>
                      <a:pt x="262454" y="269035"/>
                      <a:pt x="260059" y="266639"/>
                      <a:pt x="257108" y="266639"/>
                    </a:cubicBezTo>
                    <a:close/>
                    <a:moveTo>
                      <a:pt x="166377" y="126952"/>
                    </a:moveTo>
                    <a:lnTo>
                      <a:pt x="154850" y="138201"/>
                    </a:lnTo>
                    <a:lnTo>
                      <a:pt x="143554" y="126607"/>
                    </a:lnTo>
                    <a:lnTo>
                      <a:pt x="155067" y="115368"/>
                    </a:lnTo>
                    <a:lnTo>
                      <a:pt x="166377" y="126952"/>
                    </a:lnTo>
                    <a:close/>
                    <a:moveTo>
                      <a:pt x="46561" y="16500"/>
                    </a:moveTo>
                    <a:cubicBezTo>
                      <a:pt x="53519" y="9717"/>
                      <a:pt x="64109" y="8865"/>
                      <a:pt x="71783" y="13952"/>
                    </a:cubicBezTo>
                    <a:lnTo>
                      <a:pt x="43446" y="41639"/>
                    </a:lnTo>
                    <a:cubicBezTo>
                      <a:pt x="38534" y="33873"/>
                      <a:pt x="39625" y="23304"/>
                      <a:pt x="46561" y="16500"/>
                    </a:cubicBezTo>
                    <a:close/>
                    <a:moveTo>
                      <a:pt x="79514" y="21344"/>
                    </a:moveTo>
                    <a:lnTo>
                      <a:pt x="155905" y="99610"/>
                    </a:lnTo>
                    <a:lnTo>
                      <a:pt x="126741" y="128072"/>
                    </a:lnTo>
                    <a:lnTo>
                      <a:pt x="50347" y="49845"/>
                    </a:lnTo>
                    <a:lnTo>
                      <a:pt x="79514" y="21344"/>
                    </a:lnTo>
                    <a:close/>
                    <a:moveTo>
                      <a:pt x="88503" y="104222"/>
                    </a:moveTo>
                    <a:cubicBezTo>
                      <a:pt x="85224" y="106158"/>
                      <a:pt x="81481" y="107192"/>
                      <a:pt x="77493" y="107142"/>
                    </a:cubicBezTo>
                    <a:cubicBezTo>
                      <a:pt x="71775" y="107077"/>
                      <a:pt x="66429" y="104789"/>
                      <a:pt x="62423" y="100690"/>
                    </a:cubicBezTo>
                    <a:cubicBezTo>
                      <a:pt x="58423" y="96609"/>
                      <a:pt x="56260" y="91220"/>
                      <a:pt x="56324" y="85517"/>
                    </a:cubicBezTo>
                    <a:cubicBezTo>
                      <a:pt x="56370" y="81578"/>
                      <a:pt x="57500" y="77825"/>
                      <a:pt x="59525" y="74553"/>
                    </a:cubicBezTo>
                    <a:lnTo>
                      <a:pt x="88503" y="104222"/>
                    </a:lnTo>
                    <a:close/>
                    <a:moveTo>
                      <a:pt x="251761" y="296302"/>
                    </a:moveTo>
                    <a:lnTo>
                      <a:pt x="10686" y="296302"/>
                    </a:lnTo>
                    <a:lnTo>
                      <a:pt x="10686" y="277333"/>
                    </a:lnTo>
                    <a:lnTo>
                      <a:pt x="251761" y="277333"/>
                    </a:lnTo>
                    <a:lnTo>
                      <a:pt x="251761" y="296302"/>
                    </a:ln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Рисунок 55">
                <a:extLst>
                  <a:ext uri="{FF2B5EF4-FFF2-40B4-BE49-F238E27FC236}">
                    <a16:creationId xmlns:a16="http://schemas.microsoft.com/office/drawing/2014/main" id="{9849E0B5-183E-4C47-8F9C-375F05058B09}"/>
                  </a:ext>
                </a:extLst>
              </p:cNvPr>
              <p:cNvSpPr/>
              <p:nvPr/>
            </p:nvSpPr>
            <p:spPr>
              <a:xfrm>
                <a:off x="2043170" y="3135100"/>
                <a:ext cx="89998" cy="84874"/>
              </a:xfrm>
              <a:custGeom>
                <a:avLst/>
                <a:gdLst>
                  <a:gd name="connsiteX0" fmla="*/ 1440 w 89998"/>
                  <a:gd name="connsiteY0" fmla="*/ 83182 h 84874"/>
                  <a:gd name="connsiteX1" fmla="*/ 5347 w 89998"/>
                  <a:gd name="connsiteY1" fmla="*/ 84875 h 84874"/>
                  <a:gd name="connsiteX2" fmla="*/ 8997 w 89998"/>
                  <a:gd name="connsiteY2" fmla="*/ 83435 h 84874"/>
                  <a:gd name="connsiteX3" fmla="*/ 88304 w 89998"/>
                  <a:gd name="connsiteY3" fmla="*/ 9253 h 84874"/>
                  <a:gd name="connsiteX4" fmla="*/ 88557 w 89998"/>
                  <a:gd name="connsiteY4" fmla="*/ 1693 h 84874"/>
                  <a:gd name="connsiteX5" fmla="*/ 81000 w 89998"/>
                  <a:gd name="connsiteY5" fmla="*/ 1440 h 84874"/>
                  <a:gd name="connsiteX6" fmla="*/ 1693 w 89998"/>
                  <a:gd name="connsiteY6" fmla="*/ 75622 h 84874"/>
                  <a:gd name="connsiteX7" fmla="*/ 1440 w 89998"/>
                  <a:gd name="connsiteY7" fmla="*/ 83182 h 848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9998" h="84874">
                    <a:moveTo>
                      <a:pt x="1440" y="83182"/>
                    </a:moveTo>
                    <a:cubicBezTo>
                      <a:pt x="2495" y="84304"/>
                      <a:pt x="3918" y="84875"/>
                      <a:pt x="5347" y="84875"/>
                    </a:cubicBezTo>
                    <a:cubicBezTo>
                      <a:pt x="6655" y="84875"/>
                      <a:pt x="7967" y="84397"/>
                      <a:pt x="8997" y="83435"/>
                    </a:cubicBezTo>
                    <a:lnTo>
                      <a:pt x="88304" y="9253"/>
                    </a:lnTo>
                    <a:cubicBezTo>
                      <a:pt x="90460" y="7236"/>
                      <a:pt x="90574" y="3850"/>
                      <a:pt x="88557" y="1693"/>
                    </a:cubicBezTo>
                    <a:cubicBezTo>
                      <a:pt x="86536" y="-463"/>
                      <a:pt x="83153" y="-574"/>
                      <a:pt x="81000" y="1440"/>
                    </a:cubicBezTo>
                    <a:lnTo>
                      <a:pt x="1693" y="75622"/>
                    </a:lnTo>
                    <a:cubicBezTo>
                      <a:pt x="-463" y="77643"/>
                      <a:pt x="-574" y="81025"/>
                      <a:pt x="1440" y="83182"/>
                    </a:cubicBezTo>
                    <a:close/>
                  </a:path>
                </a:pathLst>
              </a:custGeom>
              <a:solidFill>
                <a:srgbClr val="00000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79D2FF56-91BC-4943-9B42-7DB8B2F074E3}"/>
              </a:ext>
            </a:extLst>
          </p:cNvPr>
          <p:cNvGrpSpPr/>
          <p:nvPr/>
        </p:nvGrpSpPr>
        <p:grpSpPr>
          <a:xfrm>
            <a:off x="2672484" y="4758561"/>
            <a:ext cx="728728" cy="718679"/>
            <a:chOff x="6284577" y="5016400"/>
            <a:chExt cx="550305" cy="550305"/>
          </a:xfrm>
        </p:grpSpPr>
        <p:sp>
          <p:nvSpPr>
            <p:cNvPr id="81" name="Овал 80">
              <a:extLst>
                <a:ext uri="{FF2B5EF4-FFF2-40B4-BE49-F238E27FC236}">
                  <a16:creationId xmlns:a16="http://schemas.microsoft.com/office/drawing/2014/main" id="{70A19505-1074-4B84-851E-31F67615CE31}"/>
                </a:ext>
              </a:extLst>
            </p:cNvPr>
            <p:cNvSpPr/>
            <p:nvPr/>
          </p:nvSpPr>
          <p:spPr>
            <a:xfrm>
              <a:off x="6284577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82" name="Рисунок 90">
              <a:extLst>
                <a:ext uri="{FF2B5EF4-FFF2-40B4-BE49-F238E27FC236}">
                  <a16:creationId xmlns:a16="http://schemas.microsoft.com/office/drawing/2014/main" id="{B11E45C0-250B-4711-8D44-AEA600B29A64}"/>
                </a:ext>
              </a:extLst>
            </p:cNvPr>
            <p:cNvGrpSpPr/>
            <p:nvPr/>
          </p:nvGrpSpPr>
          <p:grpSpPr>
            <a:xfrm>
              <a:off x="6402791" y="5131359"/>
              <a:ext cx="320746" cy="321831"/>
              <a:chOff x="6402791" y="5131359"/>
              <a:chExt cx="320746" cy="321831"/>
            </a:xfrm>
            <a:solidFill>
              <a:srgbClr val="231F20"/>
            </a:solidFill>
          </p:grpSpPr>
          <p:sp>
            <p:nvSpPr>
              <p:cNvPr id="83" name="Рисунок 90">
                <a:extLst>
                  <a:ext uri="{FF2B5EF4-FFF2-40B4-BE49-F238E27FC236}">
                    <a16:creationId xmlns:a16="http://schemas.microsoft.com/office/drawing/2014/main" id="{403E8F9B-23BF-447B-B074-2E2E3E42EB2C}"/>
                  </a:ext>
                </a:extLst>
              </p:cNvPr>
              <p:cNvSpPr/>
              <p:nvPr/>
            </p:nvSpPr>
            <p:spPr>
              <a:xfrm>
                <a:off x="6402791" y="5328436"/>
                <a:ext cx="232875" cy="124754"/>
              </a:xfrm>
              <a:custGeom>
                <a:avLst/>
                <a:gdLst>
                  <a:gd name="connsiteX0" fmla="*/ 116799 w 232875"/>
                  <a:gd name="connsiteY0" fmla="*/ 0 h 124754"/>
                  <a:gd name="connsiteX1" fmla="*/ 0 w 232875"/>
                  <a:gd name="connsiteY1" fmla="*/ 112098 h 124754"/>
                  <a:gd name="connsiteX2" fmla="*/ 362 w 232875"/>
                  <a:gd name="connsiteY2" fmla="*/ 120415 h 124754"/>
                  <a:gd name="connsiteX3" fmla="*/ 5786 w 232875"/>
                  <a:gd name="connsiteY3" fmla="*/ 124755 h 124754"/>
                  <a:gd name="connsiteX4" fmla="*/ 227090 w 232875"/>
                  <a:gd name="connsiteY4" fmla="*/ 124755 h 124754"/>
                  <a:gd name="connsiteX5" fmla="*/ 232152 w 232875"/>
                  <a:gd name="connsiteY5" fmla="*/ 118969 h 124754"/>
                  <a:gd name="connsiteX6" fmla="*/ 232514 w 232875"/>
                  <a:gd name="connsiteY6" fmla="*/ 116076 h 124754"/>
                  <a:gd name="connsiteX7" fmla="*/ 232876 w 232875"/>
                  <a:gd name="connsiteY7" fmla="*/ 112098 h 124754"/>
                  <a:gd name="connsiteX8" fmla="*/ 116799 w 232875"/>
                  <a:gd name="connsiteY8" fmla="*/ 0 h 124754"/>
                  <a:gd name="connsiteX9" fmla="*/ 222027 w 232875"/>
                  <a:gd name="connsiteY9" fmla="*/ 113907 h 124754"/>
                  <a:gd name="connsiteX10" fmla="*/ 10848 w 232875"/>
                  <a:gd name="connsiteY10" fmla="*/ 113907 h 124754"/>
                  <a:gd name="connsiteX11" fmla="*/ 10848 w 232875"/>
                  <a:gd name="connsiteY11" fmla="*/ 112098 h 124754"/>
                  <a:gd name="connsiteX12" fmla="*/ 116799 w 232875"/>
                  <a:gd name="connsiteY12" fmla="*/ 10848 h 124754"/>
                  <a:gd name="connsiteX13" fmla="*/ 222027 w 232875"/>
                  <a:gd name="connsiteY13" fmla="*/ 112098 h 124754"/>
                  <a:gd name="connsiteX14" fmla="*/ 222027 w 232875"/>
                  <a:gd name="connsiteY14" fmla="*/ 113907 h 1247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2875" h="124754">
                    <a:moveTo>
                      <a:pt x="116799" y="0"/>
                    </a:moveTo>
                    <a:cubicBezTo>
                      <a:pt x="52433" y="0"/>
                      <a:pt x="0" y="50264"/>
                      <a:pt x="0" y="112098"/>
                    </a:cubicBezTo>
                    <a:cubicBezTo>
                      <a:pt x="0" y="114630"/>
                      <a:pt x="0" y="117161"/>
                      <a:pt x="362" y="120415"/>
                    </a:cubicBezTo>
                    <a:cubicBezTo>
                      <a:pt x="723" y="122947"/>
                      <a:pt x="3254" y="124755"/>
                      <a:pt x="5786" y="124755"/>
                    </a:cubicBezTo>
                    <a:lnTo>
                      <a:pt x="227090" y="124755"/>
                    </a:lnTo>
                    <a:cubicBezTo>
                      <a:pt x="229983" y="124755"/>
                      <a:pt x="232514" y="122224"/>
                      <a:pt x="232152" y="118969"/>
                    </a:cubicBezTo>
                    <a:cubicBezTo>
                      <a:pt x="232152" y="117884"/>
                      <a:pt x="232514" y="117161"/>
                      <a:pt x="232514" y="116076"/>
                    </a:cubicBezTo>
                    <a:cubicBezTo>
                      <a:pt x="232876" y="114991"/>
                      <a:pt x="232876" y="113545"/>
                      <a:pt x="232876" y="112098"/>
                    </a:cubicBezTo>
                    <a:cubicBezTo>
                      <a:pt x="232876" y="50264"/>
                      <a:pt x="180804" y="0"/>
                      <a:pt x="116799" y="0"/>
                    </a:cubicBezTo>
                    <a:close/>
                    <a:moveTo>
                      <a:pt x="222027" y="113907"/>
                    </a:moveTo>
                    <a:lnTo>
                      <a:pt x="10848" y="113907"/>
                    </a:lnTo>
                    <a:cubicBezTo>
                      <a:pt x="10848" y="113183"/>
                      <a:pt x="10848" y="112822"/>
                      <a:pt x="10848" y="112098"/>
                    </a:cubicBezTo>
                    <a:cubicBezTo>
                      <a:pt x="10848" y="56049"/>
                      <a:pt x="58580" y="10848"/>
                      <a:pt x="116799" y="10848"/>
                    </a:cubicBezTo>
                    <a:cubicBezTo>
                      <a:pt x="174657" y="10848"/>
                      <a:pt x="222027" y="56411"/>
                      <a:pt x="222027" y="112098"/>
                    </a:cubicBezTo>
                    <a:cubicBezTo>
                      <a:pt x="222027" y="112822"/>
                      <a:pt x="222027" y="113183"/>
                      <a:pt x="222027" y="113907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Рисунок 90">
                <a:extLst>
                  <a:ext uri="{FF2B5EF4-FFF2-40B4-BE49-F238E27FC236}">
                    <a16:creationId xmlns:a16="http://schemas.microsoft.com/office/drawing/2014/main" id="{FABBFBF5-5949-406E-B1DD-AD80CB4DC6B7}"/>
                  </a:ext>
                </a:extLst>
              </p:cNvPr>
              <p:cNvSpPr/>
              <p:nvPr/>
            </p:nvSpPr>
            <p:spPr>
              <a:xfrm>
                <a:off x="6432804" y="5131359"/>
                <a:ext cx="172848" cy="188759"/>
              </a:xfrm>
              <a:custGeom>
                <a:avLst/>
                <a:gdLst>
                  <a:gd name="connsiteX0" fmla="*/ 5424 w 172848"/>
                  <a:gd name="connsiteY0" fmla="*/ 86786 h 188759"/>
                  <a:gd name="connsiteX1" fmla="*/ 15549 w 172848"/>
                  <a:gd name="connsiteY1" fmla="*/ 86786 h 188759"/>
                  <a:gd name="connsiteX2" fmla="*/ 15549 w 172848"/>
                  <a:gd name="connsiteY2" fmla="*/ 117884 h 188759"/>
                  <a:gd name="connsiteX3" fmla="*/ 86424 w 172848"/>
                  <a:gd name="connsiteY3" fmla="*/ 188759 h 188759"/>
                  <a:gd name="connsiteX4" fmla="*/ 156938 w 172848"/>
                  <a:gd name="connsiteY4" fmla="*/ 117884 h 188759"/>
                  <a:gd name="connsiteX5" fmla="*/ 156938 w 172848"/>
                  <a:gd name="connsiteY5" fmla="*/ 86786 h 188759"/>
                  <a:gd name="connsiteX6" fmla="*/ 167425 w 172848"/>
                  <a:gd name="connsiteY6" fmla="*/ 86786 h 188759"/>
                  <a:gd name="connsiteX7" fmla="*/ 172849 w 172848"/>
                  <a:gd name="connsiteY7" fmla="*/ 81362 h 188759"/>
                  <a:gd name="connsiteX8" fmla="*/ 172849 w 172848"/>
                  <a:gd name="connsiteY8" fmla="*/ 52795 h 188759"/>
                  <a:gd name="connsiteX9" fmla="*/ 167425 w 172848"/>
                  <a:gd name="connsiteY9" fmla="*/ 47371 h 188759"/>
                  <a:gd name="connsiteX10" fmla="*/ 156938 w 172848"/>
                  <a:gd name="connsiteY10" fmla="*/ 47371 h 188759"/>
                  <a:gd name="connsiteX11" fmla="*/ 156938 w 172848"/>
                  <a:gd name="connsiteY11" fmla="*/ 27482 h 188759"/>
                  <a:gd name="connsiteX12" fmla="*/ 151514 w 172848"/>
                  <a:gd name="connsiteY12" fmla="*/ 22058 h 188759"/>
                  <a:gd name="connsiteX13" fmla="*/ 141750 w 172848"/>
                  <a:gd name="connsiteY13" fmla="*/ 22058 h 188759"/>
                  <a:gd name="connsiteX14" fmla="*/ 141750 w 172848"/>
                  <a:gd name="connsiteY14" fmla="*/ 5424 h 188759"/>
                  <a:gd name="connsiteX15" fmla="*/ 136326 w 172848"/>
                  <a:gd name="connsiteY15" fmla="*/ 0 h 188759"/>
                  <a:gd name="connsiteX16" fmla="*/ 36161 w 172848"/>
                  <a:gd name="connsiteY16" fmla="*/ 0 h 188759"/>
                  <a:gd name="connsiteX17" fmla="*/ 30737 w 172848"/>
                  <a:gd name="connsiteY17" fmla="*/ 5424 h 188759"/>
                  <a:gd name="connsiteX18" fmla="*/ 30737 w 172848"/>
                  <a:gd name="connsiteY18" fmla="*/ 22058 h 188759"/>
                  <a:gd name="connsiteX19" fmla="*/ 20973 w 172848"/>
                  <a:gd name="connsiteY19" fmla="*/ 22058 h 188759"/>
                  <a:gd name="connsiteX20" fmla="*/ 15549 w 172848"/>
                  <a:gd name="connsiteY20" fmla="*/ 27482 h 188759"/>
                  <a:gd name="connsiteX21" fmla="*/ 15549 w 172848"/>
                  <a:gd name="connsiteY21" fmla="*/ 47371 h 188759"/>
                  <a:gd name="connsiteX22" fmla="*/ 5424 w 172848"/>
                  <a:gd name="connsiteY22" fmla="*/ 47371 h 188759"/>
                  <a:gd name="connsiteX23" fmla="*/ 0 w 172848"/>
                  <a:gd name="connsiteY23" fmla="*/ 52795 h 188759"/>
                  <a:gd name="connsiteX24" fmla="*/ 0 w 172848"/>
                  <a:gd name="connsiteY24" fmla="*/ 81362 h 188759"/>
                  <a:gd name="connsiteX25" fmla="*/ 5424 w 172848"/>
                  <a:gd name="connsiteY25" fmla="*/ 86786 h 188759"/>
                  <a:gd name="connsiteX26" fmla="*/ 157299 w 172848"/>
                  <a:gd name="connsiteY26" fmla="*/ 58219 h 188759"/>
                  <a:gd name="connsiteX27" fmla="*/ 162000 w 172848"/>
                  <a:gd name="connsiteY27" fmla="*/ 58219 h 188759"/>
                  <a:gd name="connsiteX28" fmla="*/ 162000 w 172848"/>
                  <a:gd name="connsiteY28" fmla="*/ 75938 h 188759"/>
                  <a:gd name="connsiteX29" fmla="*/ 157299 w 172848"/>
                  <a:gd name="connsiteY29" fmla="*/ 75938 h 188759"/>
                  <a:gd name="connsiteX30" fmla="*/ 157299 w 172848"/>
                  <a:gd name="connsiteY30" fmla="*/ 58219 h 188759"/>
                  <a:gd name="connsiteX31" fmla="*/ 41585 w 172848"/>
                  <a:gd name="connsiteY31" fmla="*/ 10848 h 188759"/>
                  <a:gd name="connsiteX32" fmla="*/ 130902 w 172848"/>
                  <a:gd name="connsiteY32" fmla="*/ 10848 h 188759"/>
                  <a:gd name="connsiteX33" fmla="*/ 130902 w 172848"/>
                  <a:gd name="connsiteY33" fmla="*/ 22058 h 188759"/>
                  <a:gd name="connsiteX34" fmla="*/ 41585 w 172848"/>
                  <a:gd name="connsiteY34" fmla="*/ 22058 h 188759"/>
                  <a:gd name="connsiteX35" fmla="*/ 41585 w 172848"/>
                  <a:gd name="connsiteY35" fmla="*/ 10848 h 188759"/>
                  <a:gd name="connsiteX36" fmla="*/ 26397 w 172848"/>
                  <a:gd name="connsiteY36" fmla="*/ 33268 h 188759"/>
                  <a:gd name="connsiteX37" fmla="*/ 36161 w 172848"/>
                  <a:gd name="connsiteY37" fmla="*/ 33268 h 188759"/>
                  <a:gd name="connsiteX38" fmla="*/ 136688 w 172848"/>
                  <a:gd name="connsiteY38" fmla="*/ 33268 h 188759"/>
                  <a:gd name="connsiteX39" fmla="*/ 146451 w 172848"/>
                  <a:gd name="connsiteY39" fmla="*/ 33268 h 188759"/>
                  <a:gd name="connsiteX40" fmla="*/ 146451 w 172848"/>
                  <a:gd name="connsiteY40" fmla="*/ 52795 h 188759"/>
                  <a:gd name="connsiteX41" fmla="*/ 146451 w 172848"/>
                  <a:gd name="connsiteY41" fmla="*/ 81362 h 188759"/>
                  <a:gd name="connsiteX42" fmla="*/ 146451 w 172848"/>
                  <a:gd name="connsiteY42" fmla="*/ 118246 h 188759"/>
                  <a:gd name="connsiteX43" fmla="*/ 86424 w 172848"/>
                  <a:gd name="connsiteY43" fmla="*/ 178273 h 188759"/>
                  <a:gd name="connsiteX44" fmla="*/ 26397 w 172848"/>
                  <a:gd name="connsiteY44" fmla="*/ 118246 h 188759"/>
                  <a:gd name="connsiteX45" fmla="*/ 26397 w 172848"/>
                  <a:gd name="connsiteY45" fmla="*/ 81362 h 188759"/>
                  <a:gd name="connsiteX46" fmla="*/ 26397 w 172848"/>
                  <a:gd name="connsiteY46" fmla="*/ 52795 h 188759"/>
                  <a:gd name="connsiteX47" fmla="*/ 26397 w 172848"/>
                  <a:gd name="connsiteY47" fmla="*/ 33268 h 188759"/>
                  <a:gd name="connsiteX48" fmla="*/ 10848 w 172848"/>
                  <a:gd name="connsiteY48" fmla="*/ 58219 h 188759"/>
                  <a:gd name="connsiteX49" fmla="*/ 15549 w 172848"/>
                  <a:gd name="connsiteY49" fmla="*/ 58219 h 188759"/>
                  <a:gd name="connsiteX50" fmla="*/ 15549 w 172848"/>
                  <a:gd name="connsiteY50" fmla="*/ 75938 h 188759"/>
                  <a:gd name="connsiteX51" fmla="*/ 10848 w 172848"/>
                  <a:gd name="connsiteY51" fmla="*/ 75938 h 188759"/>
                  <a:gd name="connsiteX52" fmla="*/ 10848 w 172848"/>
                  <a:gd name="connsiteY52" fmla="*/ 58219 h 188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72848" h="188759">
                    <a:moveTo>
                      <a:pt x="5424" y="86786"/>
                    </a:moveTo>
                    <a:lnTo>
                      <a:pt x="15549" y="86786"/>
                    </a:lnTo>
                    <a:lnTo>
                      <a:pt x="15549" y="117884"/>
                    </a:lnTo>
                    <a:cubicBezTo>
                      <a:pt x="15549" y="156938"/>
                      <a:pt x="47371" y="188759"/>
                      <a:pt x="86424" y="188759"/>
                    </a:cubicBezTo>
                    <a:cubicBezTo>
                      <a:pt x="125478" y="188759"/>
                      <a:pt x="157299" y="157299"/>
                      <a:pt x="156938" y="117884"/>
                    </a:cubicBezTo>
                    <a:lnTo>
                      <a:pt x="156938" y="86786"/>
                    </a:lnTo>
                    <a:lnTo>
                      <a:pt x="167425" y="86786"/>
                    </a:lnTo>
                    <a:cubicBezTo>
                      <a:pt x="170317" y="86786"/>
                      <a:pt x="172849" y="84255"/>
                      <a:pt x="172849" y="81362"/>
                    </a:cubicBezTo>
                    <a:lnTo>
                      <a:pt x="172849" y="52795"/>
                    </a:lnTo>
                    <a:cubicBezTo>
                      <a:pt x="172849" y="49902"/>
                      <a:pt x="170317" y="47371"/>
                      <a:pt x="167425" y="47371"/>
                    </a:cubicBezTo>
                    <a:lnTo>
                      <a:pt x="156938" y="47371"/>
                    </a:lnTo>
                    <a:lnTo>
                      <a:pt x="156938" y="27482"/>
                    </a:lnTo>
                    <a:cubicBezTo>
                      <a:pt x="156938" y="24589"/>
                      <a:pt x="154407" y="22058"/>
                      <a:pt x="151514" y="22058"/>
                    </a:cubicBezTo>
                    <a:lnTo>
                      <a:pt x="141750" y="22058"/>
                    </a:lnTo>
                    <a:lnTo>
                      <a:pt x="141750" y="5424"/>
                    </a:lnTo>
                    <a:cubicBezTo>
                      <a:pt x="141750" y="2531"/>
                      <a:pt x="139219" y="0"/>
                      <a:pt x="136326" y="0"/>
                    </a:cubicBezTo>
                    <a:lnTo>
                      <a:pt x="36161" y="0"/>
                    </a:lnTo>
                    <a:cubicBezTo>
                      <a:pt x="33268" y="0"/>
                      <a:pt x="30737" y="2531"/>
                      <a:pt x="30737" y="5424"/>
                    </a:cubicBezTo>
                    <a:lnTo>
                      <a:pt x="30737" y="22058"/>
                    </a:lnTo>
                    <a:lnTo>
                      <a:pt x="20973" y="22058"/>
                    </a:lnTo>
                    <a:cubicBezTo>
                      <a:pt x="18080" y="22058"/>
                      <a:pt x="15549" y="24589"/>
                      <a:pt x="15549" y="27482"/>
                    </a:cubicBezTo>
                    <a:lnTo>
                      <a:pt x="15549" y="47371"/>
                    </a:lnTo>
                    <a:lnTo>
                      <a:pt x="5424" y="47371"/>
                    </a:lnTo>
                    <a:cubicBezTo>
                      <a:pt x="2531" y="47371"/>
                      <a:pt x="0" y="49902"/>
                      <a:pt x="0" y="52795"/>
                    </a:cubicBezTo>
                    <a:lnTo>
                      <a:pt x="0" y="81362"/>
                    </a:lnTo>
                    <a:cubicBezTo>
                      <a:pt x="0" y="84255"/>
                      <a:pt x="2531" y="86786"/>
                      <a:pt x="5424" y="86786"/>
                    </a:cubicBezTo>
                    <a:close/>
                    <a:moveTo>
                      <a:pt x="157299" y="58219"/>
                    </a:moveTo>
                    <a:lnTo>
                      <a:pt x="162000" y="58219"/>
                    </a:lnTo>
                    <a:lnTo>
                      <a:pt x="162000" y="75938"/>
                    </a:lnTo>
                    <a:lnTo>
                      <a:pt x="157299" y="75938"/>
                    </a:lnTo>
                    <a:lnTo>
                      <a:pt x="157299" y="58219"/>
                    </a:lnTo>
                    <a:close/>
                    <a:moveTo>
                      <a:pt x="41585" y="10848"/>
                    </a:moveTo>
                    <a:lnTo>
                      <a:pt x="130902" y="10848"/>
                    </a:lnTo>
                    <a:lnTo>
                      <a:pt x="130902" y="22058"/>
                    </a:lnTo>
                    <a:lnTo>
                      <a:pt x="41585" y="22058"/>
                    </a:lnTo>
                    <a:lnTo>
                      <a:pt x="41585" y="10848"/>
                    </a:lnTo>
                    <a:close/>
                    <a:moveTo>
                      <a:pt x="26397" y="33268"/>
                    </a:moveTo>
                    <a:lnTo>
                      <a:pt x="36161" y="33268"/>
                    </a:lnTo>
                    <a:lnTo>
                      <a:pt x="136688" y="33268"/>
                    </a:lnTo>
                    <a:lnTo>
                      <a:pt x="146451" y="33268"/>
                    </a:lnTo>
                    <a:lnTo>
                      <a:pt x="146451" y="52795"/>
                    </a:lnTo>
                    <a:lnTo>
                      <a:pt x="146451" y="81362"/>
                    </a:lnTo>
                    <a:lnTo>
                      <a:pt x="146451" y="118246"/>
                    </a:lnTo>
                    <a:cubicBezTo>
                      <a:pt x="146451" y="151514"/>
                      <a:pt x="119331" y="178273"/>
                      <a:pt x="86424" y="178273"/>
                    </a:cubicBezTo>
                    <a:cubicBezTo>
                      <a:pt x="53156" y="178273"/>
                      <a:pt x="26397" y="151152"/>
                      <a:pt x="26397" y="118246"/>
                    </a:cubicBezTo>
                    <a:lnTo>
                      <a:pt x="26397" y="81362"/>
                    </a:lnTo>
                    <a:lnTo>
                      <a:pt x="26397" y="52795"/>
                    </a:lnTo>
                    <a:lnTo>
                      <a:pt x="26397" y="33268"/>
                    </a:lnTo>
                    <a:close/>
                    <a:moveTo>
                      <a:pt x="10848" y="58219"/>
                    </a:moveTo>
                    <a:lnTo>
                      <a:pt x="15549" y="58219"/>
                    </a:lnTo>
                    <a:lnTo>
                      <a:pt x="15549" y="75938"/>
                    </a:lnTo>
                    <a:lnTo>
                      <a:pt x="10848" y="75938"/>
                    </a:lnTo>
                    <a:lnTo>
                      <a:pt x="10848" y="58219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5" name="Рисунок 90">
                <a:extLst>
                  <a:ext uri="{FF2B5EF4-FFF2-40B4-BE49-F238E27FC236}">
                    <a16:creationId xmlns:a16="http://schemas.microsoft.com/office/drawing/2014/main" id="{444A9B16-AA33-4BA2-A636-8C25904599B3}"/>
                  </a:ext>
                </a:extLst>
              </p:cNvPr>
              <p:cNvSpPr/>
              <p:nvPr/>
            </p:nvSpPr>
            <p:spPr>
              <a:xfrm>
                <a:off x="6469688" y="5189940"/>
                <a:ext cx="99080" cy="57857"/>
              </a:xfrm>
              <a:custGeom>
                <a:avLst/>
                <a:gdLst>
                  <a:gd name="connsiteX0" fmla="*/ 5424 w 99080"/>
                  <a:gd name="connsiteY0" fmla="*/ 57857 h 57857"/>
                  <a:gd name="connsiteX1" fmla="*/ 93656 w 99080"/>
                  <a:gd name="connsiteY1" fmla="*/ 57857 h 57857"/>
                  <a:gd name="connsiteX2" fmla="*/ 99081 w 99080"/>
                  <a:gd name="connsiteY2" fmla="*/ 52433 h 57857"/>
                  <a:gd name="connsiteX3" fmla="*/ 99081 w 99080"/>
                  <a:gd name="connsiteY3" fmla="*/ 5424 h 57857"/>
                  <a:gd name="connsiteX4" fmla="*/ 93656 w 99080"/>
                  <a:gd name="connsiteY4" fmla="*/ 0 h 57857"/>
                  <a:gd name="connsiteX5" fmla="*/ 5424 w 99080"/>
                  <a:gd name="connsiteY5" fmla="*/ 0 h 57857"/>
                  <a:gd name="connsiteX6" fmla="*/ 0 w 99080"/>
                  <a:gd name="connsiteY6" fmla="*/ 5424 h 57857"/>
                  <a:gd name="connsiteX7" fmla="*/ 0 w 99080"/>
                  <a:gd name="connsiteY7" fmla="*/ 52433 h 57857"/>
                  <a:gd name="connsiteX8" fmla="*/ 5424 w 99080"/>
                  <a:gd name="connsiteY8" fmla="*/ 57857 h 57857"/>
                  <a:gd name="connsiteX9" fmla="*/ 10848 w 99080"/>
                  <a:gd name="connsiteY9" fmla="*/ 10848 h 57857"/>
                  <a:gd name="connsiteX10" fmla="*/ 88232 w 99080"/>
                  <a:gd name="connsiteY10" fmla="*/ 10848 h 57857"/>
                  <a:gd name="connsiteX11" fmla="*/ 88232 w 99080"/>
                  <a:gd name="connsiteY11" fmla="*/ 47009 h 57857"/>
                  <a:gd name="connsiteX12" fmla="*/ 10848 w 99080"/>
                  <a:gd name="connsiteY12" fmla="*/ 47009 h 57857"/>
                  <a:gd name="connsiteX13" fmla="*/ 10848 w 99080"/>
                  <a:gd name="connsiteY13" fmla="*/ 10848 h 57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080" h="57857">
                    <a:moveTo>
                      <a:pt x="5424" y="57857"/>
                    </a:moveTo>
                    <a:lnTo>
                      <a:pt x="93656" y="57857"/>
                    </a:lnTo>
                    <a:cubicBezTo>
                      <a:pt x="96549" y="57857"/>
                      <a:pt x="99081" y="55326"/>
                      <a:pt x="99081" y="52433"/>
                    </a:cubicBezTo>
                    <a:lnTo>
                      <a:pt x="99081" y="5424"/>
                    </a:lnTo>
                    <a:cubicBezTo>
                      <a:pt x="99081" y="2531"/>
                      <a:pt x="96549" y="0"/>
                      <a:pt x="93656" y="0"/>
                    </a:cubicBezTo>
                    <a:lnTo>
                      <a:pt x="5424" y="0"/>
                    </a:lnTo>
                    <a:cubicBezTo>
                      <a:pt x="2531" y="0"/>
                      <a:pt x="0" y="2531"/>
                      <a:pt x="0" y="5424"/>
                    </a:cubicBezTo>
                    <a:lnTo>
                      <a:pt x="0" y="52433"/>
                    </a:lnTo>
                    <a:cubicBezTo>
                      <a:pt x="0" y="55326"/>
                      <a:pt x="2531" y="57857"/>
                      <a:pt x="5424" y="57857"/>
                    </a:cubicBezTo>
                    <a:close/>
                    <a:moveTo>
                      <a:pt x="10848" y="10848"/>
                    </a:moveTo>
                    <a:lnTo>
                      <a:pt x="88232" y="10848"/>
                    </a:lnTo>
                    <a:lnTo>
                      <a:pt x="88232" y="47009"/>
                    </a:lnTo>
                    <a:lnTo>
                      <a:pt x="10848" y="47009"/>
                    </a:lnTo>
                    <a:lnTo>
                      <a:pt x="10848" y="10848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Рисунок 90">
                <a:extLst>
                  <a:ext uri="{FF2B5EF4-FFF2-40B4-BE49-F238E27FC236}">
                    <a16:creationId xmlns:a16="http://schemas.microsoft.com/office/drawing/2014/main" id="{42739BD1-5A2F-45BC-BE71-CA7323CF5554}"/>
                  </a:ext>
                </a:extLst>
              </p:cNvPr>
              <p:cNvSpPr/>
              <p:nvPr/>
            </p:nvSpPr>
            <p:spPr>
              <a:xfrm>
                <a:off x="6646514" y="5280703"/>
                <a:ext cx="77022" cy="172125"/>
              </a:xfrm>
              <a:custGeom>
                <a:avLst/>
                <a:gdLst>
                  <a:gd name="connsiteX0" fmla="*/ 71598 w 77022"/>
                  <a:gd name="connsiteY0" fmla="*/ 4701 h 172125"/>
                  <a:gd name="connsiteX1" fmla="*/ 20250 w 77022"/>
                  <a:gd name="connsiteY1" fmla="*/ 4701 h 172125"/>
                  <a:gd name="connsiteX2" fmla="*/ 14826 w 77022"/>
                  <a:gd name="connsiteY2" fmla="*/ 0 h 172125"/>
                  <a:gd name="connsiteX3" fmla="*/ 9402 w 77022"/>
                  <a:gd name="connsiteY3" fmla="*/ 5424 h 172125"/>
                  <a:gd name="connsiteX4" fmla="*/ 9402 w 77022"/>
                  <a:gd name="connsiteY4" fmla="*/ 28567 h 172125"/>
                  <a:gd name="connsiteX5" fmla="*/ 5424 w 77022"/>
                  <a:gd name="connsiteY5" fmla="*/ 28567 h 172125"/>
                  <a:gd name="connsiteX6" fmla="*/ 0 w 77022"/>
                  <a:gd name="connsiteY6" fmla="*/ 33991 h 172125"/>
                  <a:gd name="connsiteX7" fmla="*/ 0 w 77022"/>
                  <a:gd name="connsiteY7" fmla="*/ 166701 h 172125"/>
                  <a:gd name="connsiteX8" fmla="*/ 5424 w 77022"/>
                  <a:gd name="connsiteY8" fmla="*/ 172125 h 172125"/>
                  <a:gd name="connsiteX9" fmla="*/ 24228 w 77022"/>
                  <a:gd name="connsiteY9" fmla="*/ 172125 h 172125"/>
                  <a:gd name="connsiteX10" fmla="*/ 29652 w 77022"/>
                  <a:gd name="connsiteY10" fmla="*/ 166701 h 172125"/>
                  <a:gd name="connsiteX11" fmla="*/ 29652 w 77022"/>
                  <a:gd name="connsiteY11" fmla="*/ 33991 h 172125"/>
                  <a:gd name="connsiteX12" fmla="*/ 24228 w 77022"/>
                  <a:gd name="connsiteY12" fmla="*/ 28567 h 172125"/>
                  <a:gd name="connsiteX13" fmla="*/ 20250 w 77022"/>
                  <a:gd name="connsiteY13" fmla="*/ 28567 h 172125"/>
                  <a:gd name="connsiteX14" fmla="*/ 20250 w 77022"/>
                  <a:gd name="connsiteY14" fmla="*/ 15549 h 172125"/>
                  <a:gd name="connsiteX15" fmla="*/ 71598 w 77022"/>
                  <a:gd name="connsiteY15" fmla="*/ 15549 h 172125"/>
                  <a:gd name="connsiteX16" fmla="*/ 77023 w 77022"/>
                  <a:gd name="connsiteY16" fmla="*/ 10125 h 172125"/>
                  <a:gd name="connsiteX17" fmla="*/ 71598 w 77022"/>
                  <a:gd name="connsiteY17" fmla="*/ 4701 h 172125"/>
                  <a:gd name="connsiteX18" fmla="*/ 18804 w 77022"/>
                  <a:gd name="connsiteY18" fmla="*/ 161277 h 172125"/>
                  <a:gd name="connsiteX19" fmla="*/ 10848 w 77022"/>
                  <a:gd name="connsiteY19" fmla="*/ 161277 h 172125"/>
                  <a:gd name="connsiteX20" fmla="*/ 10848 w 77022"/>
                  <a:gd name="connsiteY20" fmla="*/ 39415 h 172125"/>
                  <a:gd name="connsiteX21" fmla="*/ 18804 w 77022"/>
                  <a:gd name="connsiteY21" fmla="*/ 39415 h 172125"/>
                  <a:gd name="connsiteX22" fmla="*/ 18804 w 77022"/>
                  <a:gd name="connsiteY22" fmla="*/ 161277 h 17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7022" h="172125">
                    <a:moveTo>
                      <a:pt x="71598" y="4701"/>
                    </a:moveTo>
                    <a:lnTo>
                      <a:pt x="20250" y="4701"/>
                    </a:lnTo>
                    <a:cubicBezTo>
                      <a:pt x="19888" y="2170"/>
                      <a:pt x="17719" y="0"/>
                      <a:pt x="14826" y="0"/>
                    </a:cubicBezTo>
                    <a:cubicBezTo>
                      <a:pt x="11933" y="0"/>
                      <a:pt x="9402" y="2531"/>
                      <a:pt x="9402" y="5424"/>
                    </a:cubicBezTo>
                    <a:lnTo>
                      <a:pt x="9402" y="28567"/>
                    </a:lnTo>
                    <a:lnTo>
                      <a:pt x="5424" y="28567"/>
                    </a:lnTo>
                    <a:cubicBezTo>
                      <a:pt x="2531" y="28567"/>
                      <a:pt x="0" y="31098"/>
                      <a:pt x="0" y="33991"/>
                    </a:cubicBezTo>
                    <a:lnTo>
                      <a:pt x="0" y="166701"/>
                    </a:lnTo>
                    <a:cubicBezTo>
                      <a:pt x="0" y="169594"/>
                      <a:pt x="2531" y="172125"/>
                      <a:pt x="5424" y="172125"/>
                    </a:cubicBezTo>
                    <a:lnTo>
                      <a:pt x="24228" y="172125"/>
                    </a:lnTo>
                    <a:cubicBezTo>
                      <a:pt x="27121" y="172125"/>
                      <a:pt x="29652" y="169594"/>
                      <a:pt x="29652" y="166701"/>
                    </a:cubicBezTo>
                    <a:lnTo>
                      <a:pt x="29652" y="33991"/>
                    </a:lnTo>
                    <a:cubicBezTo>
                      <a:pt x="29652" y="31098"/>
                      <a:pt x="27121" y="28567"/>
                      <a:pt x="24228" y="28567"/>
                    </a:cubicBezTo>
                    <a:lnTo>
                      <a:pt x="20250" y="28567"/>
                    </a:lnTo>
                    <a:lnTo>
                      <a:pt x="20250" y="15549"/>
                    </a:lnTo>
                    <a:lnTo>
                      <a:pt x="71598" y="15549"/>
                    </a:lnTo>
                    <a:cubicBezTo>
                      <a:pt x="74491" y="15549"/>
                      <a:pt x="77023" y="13018"/>
                      <a:pt x="77023" y="10125"/>
                    </a:cubicBezTo>
                    <a:cubicBezTo>
                      <a:pt x="77023" y="7232"/>
                      <a:pt x="74491" y="4701"/>
                      <a:pt x="71598" y="4701"/>
                    </a:cubicBezTo>
                    <a:close/>
                    <a:moveTo>
                      <a:pt x="18804" y="161277"/>
                    </a:moveTo>
                    <a:lnTo>
                      <a:pt x="10848" y="161277"/>
                    </a:lnTo>
                    <a:lnTo>
                      <a:pt x="10848" y="39415"/>
                    </a:lnTo>
                    <a:lnTo>
                      <a:pt x="18804" y="39415"/>
                    </a:lnTo>
                    <a:lnTo>
                      <a:pt x="18804" y="161277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853389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Объект 21" hidden="1">
            <a:extLst>
              <a:ext uri="{FF2B5EF4-FFF2-40B4-BE49-F238E27FC236}">
                <a16:creationId xmlns:a16="http://schemas.microsoft.com/office/drawing/2014/main" id="{A8422DC5-987D-4949-8543-B54023A079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2" name="Объект 21" hidden="1">
                        <a:extLst>
                          <a:ext uri="{FF2B5EF4-FFF2-40B4-BE49-F238E27FC236}">
                            <a16:creationId xmlns:a16="http://schemas.microsoft.com/office/drawing/2014/main" id="{A8422DC5-987D-4949-8543-B54023A079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1FD3F5-D117-F04A-92B9-D823373C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 smtClean="0"/>
              <a:t>Карта целей</a:t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dirty="0"/>
              <a:t>Обеспечение персоналом предприятия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7E88607-6D3F-274B-ABC9-25FD5D466F91}"/>
              </a:ext>
            </a:extLst>
          </p:cNvPr>
          <p:cNvGrpSpPr/>
          <p:nvPr/>
        </p:nvGrpSpPr>
        <p:grpSpPr>
          <a:xfrm>
            <a:off x="803275" y="2711260"/>
            <a:ext cx="2880000" cy="2160000"/>
            <a:chOff x="803275" y="2711260"/>
            <a:chExt cx="2880000" cy="2160000"/>
          </a:xfrm>
        </p:grpSpPr>
        <p:sp>
          <p:nvSpPr>
            <p:cNvPr id="7" name="Rounded Rectangle 76">
              <a:extLst>
                <a:ext uri="{FF2B5EF4-FFF2-40B4-BE49-F238E27FC236}">
                  <a16:creationId xmlns:a16="http://schemas.microsoft.com/office/drawing/2014/main" id="{6B865775-3BF7-8348-9CA5-D9122BE97DF1}"/>
                </a:ext>
              </a:extLst>
            </p:cNvPr>
            <p:cNvSpPr/>
            <p:nvPr/>
          </p:nvSpPr>
          <p:spPr>
            <a:xfrm>
              <a:off x="803275" y="2711260"/>
              <a:ext cx="2880000" cy="2160000"/>
            </a:xfrm>
            <a:prstGeom prst="roundRect">
              <a:avLst>
                <a:gd name="adj" fmla="val 2450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3"/>
                </a:gs>
              </a:gsLst>
              <a:lin ang="27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8" name="Текст 4">
              <a:extLst>
                <a:ext uri="{FF2B5EF4-FFF2-40B4-BE49-F238E27FC236}">
                  <a16:creationId xmlns:a16="http://schemas.microsoft.com/office/drawing/2014/main" id="{6A1021F6-2165-E142-AC3C-7F97AAD7A331}"/>
                </a:ext>
              </a:extLst>
            </p:cNvPr>
            <p:cNvSpPr txBox="1">
              <a:spLocks/>
            </p:cNvSpPr>
            <p:nvPr/>
          </p:nvSpPr>
          <p:spPr>
            <a:xfrm>
              <a:off x="859547" y="2890757"/>
              <a:ext cx="2767456" cy="1801006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>
              <a:sp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1pPr>
              <a:lvl2pPr marL="284400" indent="-1728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2pPr>
              <a:lvl3pPr marL="511200" indent="-165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Trebuchet MS" panose="020B0603020202020204" pitchFamily="34" charset="0"/>
                <a:buChar char="–"/>
                <a:defRPr lang="en-US"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3pPr>
              <a:lvl4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​"/>
                <a:defRPr lang="en-US" sz="1600" kern="120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4pPr>
              <a:lvl5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Font typeface="Arial" panose="020B0604020202020204" pitchFamily="34" charset="0"/>
                <a:buChar char="​"/>
                <a:defRPr lang="en-US"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5pPr>
              <a:lvl6pPr marL="269875" indent="-1524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defRPr lang="en-US" sz="16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6pPr>
              <a:lvl7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4400" kern="1200" baseline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  <a:sym typeface="+mn-lt"/>
                </a:defRPr>
              </a:lvl7pPr>
              <a:lvl8pPr marL="0" indent="0" algn="l" defTabSz="914400" rtl="0" eaLnBrk="1" latinLnBrk="0" hangingPunct="1">
                <a:lnSpc>
                  <a:spcPct val="90000"/>
                </a:lnSpc>
                <a:spcBef>
                  <a:spcPts val="900"/>
                </a:spcBef>
                <a:spcAft>
                  <a:spcPts val="0"/>
                </a:spcAft>
                <a:buFont typeface="Arial" panose="020B0604020202020204" pitchFamily="34" charset="0"/>
                <a:buChar char="​"/>
                <a:defRPr lang="en-US" sz="5400" kern="1200" baseline="0" smtClean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8pPr>
              <a:lvl9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Font typeface="Arial" panose="020B0604020202020204" pitchFamily="34" charset="0"/>
                <a:buChar char="​"/>
                <a:defRPr lang="en-US" sz="2400" kern="1200" baseline="0" dirty="0">
                  <a:solidFill>
                    <a:schemeClr val="tx2"/>
                  </a:solidFill>
                  <a:latin typeface="+mn-lt"/>
                  <a:ea typeface="+mn-ea"/>
                  <a:cs typeface="+mn-cs"/>
                  <a:sym typeface="+mn-lt"/>
                </a:defRPr>
              </a:lvl9pPr>
            </a:lstStyle>
            <a:p>
              <a:pPr lvl="0">
                <a:lnSpc>
                  <a:spcPct val="150000"/>
                </a:lnSpc>
                <a:spcAft>
                  <a:spcPts val="600"/>
                </a:spcAft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  <a:sym typeface="+mn-lt"/>
                </a:rPr>
                <a:t>Социальное партнерство предприятия и колледжа</a:t>
              </a:r>
              <a:r>
                <a:rPr kumimoji="0" lang="ru-RU" sz="16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  <a:sym typeface="+mn-lt"/>
                </a:rPr>
                <a:t>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  <a:sym typeface="+mn-lt"/>
                </a:rPr>
                <a:t> позволит  обеспечить приток квалифицированного</a:t>
              </a:r>
              <a:r>
                <a:rPr kumimoji="0" lang="ru-RU" sz="1600" b="0" i="0" u="none" strike="noStrike" kern="1200" cap="none" spc="0" normalizeH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n-ea"/>
                  <a:cs typeface="+mn-cs"/>
                  <a:sym typeface="+mn-lt"/>
                </a:rPr>
                <a:t> персонала на рабочие места 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  <a:sym typeface="+mn-lt"/>
              </a:endParaRP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2129C79-5CD7-134C-A90D-E29B5BD102DA}"/>
              </a:ext>
            </a:extLst>
          </p:cNvPr>
          <p:cNvGrpSpPr/>
          <p:nvPr/>
        </p:nvGrpSpPr>
        <p:grpSpPr>
          <a:xfrm>
            <a:off x="8505510" y="1347980"/>
            <a:ext cx="3003621" cy="2160000"/>
            <a:chOff x="8505510" y="1347980"/>
            <a:chExt cx="3003621" cy="2160000"/>
          </a:xfrm>
        </p:grpSpPr>
        <p:sp>
          <p:nvSpPr>
            <p:cNvPr id="12" name="Rounded Rectangle 76">
              <a:extLst>
                <a:ext uri="{FF2B5EF4-FFF2-40B4-BE49-F238E27FC236}">
                  <a16:creationId xmlns:a16="http://schemas.microsoft.com/office/drawing/2014/main" id="{2B9D0D6E-1B3B-1F44-B2B9-3206EB9E09C6}"/>
                </a:ext>
              </a:extLst>
            </p:cNvPr>
            <p:cNvSpPr/>
            <p:nvPr/>
          </p:nvSpPr>
          <p:spPr>
            <a:xfrm>
              <a:off x="8505510" y="134798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14715B46-A8E5-A148-9AE2-9243376E6199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631599" y="1545904"/>
              <a:ext cx="2877532" cy="196207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Системная работа по ранней профориентаци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</a:t>
              </a:r>
              <a:r>
                <a:rPr lang="ru-RU" sz="1200" dirty="0"/>
                <a:t>Организация стажировок учителей, преподавателей и мастеров производственного обучения на предприятии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гарантированное трудоустройство по окончании колледжа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 Предоставление рабочих мест для прохождения практики 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4EA19E2-59BF-364E-B083-B52ED22BDC8B}"/>
              </a:ext>
            </a:extLst>
          </p:cNvPr>
          <p:cNvGrpSpPr/>
          <p:nvPr/>
        </p:nvGrpSpPr>
        <p:grpSpPr>
          <a:xfrm>
            <a:off x="8505510" y="4051620"/>
            <a:ext cx="2880000" cy="2160000"/>
            <a:chOff x="8505510" y="4051620"/>
            <a:chExt cx="2880000" cy="2160000"/>
          </a:xfrm>
        </p:grpSpPr>
        <p:sp>
          <p:nvSpPr>
            <p:cNvPr id="15" name="Rounded Rectangle 76">
              <a:extLst>
                <a:ext uri="{FF2B5EF4-FFF2-40B4-BE49-F238E27FC236}">
                  <a16:creationId xmlns:a16="http://schemas.microsoft.com/office/drawing/2014/main" id="{2EF7EA85-247F-3C41-8D66-7DCD1F868450}"/>
                </a:ext>
              </a:extLst>
            </p:cNvPr>
            <p:cNvSpPr/>
            <p:nvPr/>
          </p:nvSpPr>
          <p:spPr>
            <a:xfrm>
              <a:off x="8505510" y="4051620"/>
              <a:ext cx="2880000" cy="2160000"/>
            </a:xfrm>
            <a:prstGeom prst="roundRect">
              <a:avLst>
                <a:gd name="adj" fmla="val 221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D525311-6A33-3E47-A1F4-15166189006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8757688" y="4373720"/>
              <a:ext cx="2627821" cy="1554272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>
              <a:defPPr>
                <a:defRPr lang="en-US"/>
              </a:defPPr>
              <a:lvl1pPr marL="108000" indent="-108000" defTabSz="914400">
                <a:spcAft>
                  <a:spcPts val="60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000">
                  <a:solidFill>
                    <a:srgbClr val="495359"/>
                  </a:solidFill>
                </a:defRPr>
              </a:lvl1pPr>
            </a:lstStyle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Участие в создании и изменении вариативной части учебных программ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Преподавание специальных дисциплин работниками предприятия  </a:t>
              </a:r>
            </a:p>
            <a:p>
              <a:pPr>
                <a:spcAft>
                  <a:spcPts val="300"/>
                </a:spcAft>
                <a:buClr>
                  <a:schemeClr val="accent1"/>
                </a:buClr>
              </a:pPr>
              <a:r>
                <a:rPr lang="ru-RU" sz="1200" dirty="0" smtClean="0">
                  <a:solidFill>
                    <a:schemeClr val="tx1"/>
                  </a:solidFill>
                  <a:ea typeface="Euclid Circular A" panose="020B0504000000000000" pitchFamily="34" charset="-52"/>
                </a:rPr>
                <a:t>Совместные конкурсы профессионального мастерства  </a:t>
              </a:r>
              <a:endParaRPr lang="ru-RU" sz="1200" dirty="0">
                <a:solidFill>
                  <a:schemeClr val="tx1"/>
                </a:solidFill>
                <a:ea typeface="Euclid Circular A" panose="020B0504000000000000" pitchFamily="34" charset="-52"/>
              </a:endParaRP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E72CB005-75A0-DC45-B8F6-75B1AB3360E6}"/>
              </a:ext>
            </a:extLst>
          </p:cNvPr>
          <p:cNvGrpSpPr/>
          <p:nvPr/>
        </p:nvGrpSpPr>
        <p:grpSpPr>
          <a:xfrm>
            <a:off x="4663945" y="1347980"/>
            <a:ext cx="2880000" cy="2160000"/>
            <a:chOff x="4663945" y="1347980"/>
            <a:chExt cx="2880000" cy="2160000"/>
          </a:xfrm>
        </p:grpSpPr>
        <p:sp>
          <p:nvSpPr>
            <p:cNvPr id="18" name="Rounded Rectangle 76">
              <a:extLst>
                <a:ext uri="{FF2B5EF4-FFF2-40B4-BE49-F238E27FC236}">
                  <a16:creationId xmlns:a16="http://schemas.microsoft.com/office/drawing/2014/main" id="{AAFA32BA-AFCD-6A4C-BFFA-C05ED8887FBA}"/>
                </a:ext>
              </a:extLst>
            </p:cNvPr>
            <p:cNvSpPr/>
            <p:nvPr/>
          </p:nvSpPr>
          <p:spPr>
            <a:xfrm>
              <a:off x="4663945" y="134798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22A51C5-720C-2541-B0C9-022BA7C203E0}"/>
                </a:ext>
              </a:extLst>
            </p:cNvPr>
            <p:cNvSpPr txBox="1"/>
            <p:nvPr/>
          </p:nvSpPr>
          <p:spPr>
            <a:xfrm>
              <a:off x="5428208" y="1704773"/>
              <a:ext cx="2115737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Договор о сотрудничестве 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FAD0947F-E15B-F240-A015-066A07BD8211}"/>
              </a:ext>
            </a:extLst>
          </p:cNvPr>
          <p:cNvGrpSpPr/>
          <p:nvPr/>
        </p:nvGrpSpPr>
        <p:grpSpPr>
          <a:xfrm>
            <a:off x="4663945" y="2315303"/>
            <a:ext cx="2894178" cy="3896317"/>
            <a:chOff x="4663945" y="2315303"/>
            <a:chExt cx="2894178" cy="3896317"/>
          </a:xfrm>
        </p:grpSpPr>
        <p:sp>
          <p:nvSpPr>
            <p:cNvPr id="28" name="Rounded Rectangle 76">
              <a:extLst>
                <a:ext uri="{FF2B5EF4-FFF2-40B4-BE49-F238E27FC236}">
                  <a16:creationId xmlns:a16="http://schemas.microsoft.com/office/drawing/2014/main" id="{D72C1F7B-CFF8-6643-ACD4-A6FA768DB757}"/>
                </a:ext>
              </a:extLst>
            </p:cNvPr>
            <p:cNvSpPr/>
            <p:nvPr/>
          </p:nvSpPr>
          <p:spPr>
            <a:xfrm>
              <a:off x="4663945" y="4051620"/>
              <a:ext cx="2880000" cy="2160000"/>
            </a:xfrm>
            <a:prstGeom prst="roundRect">
              <a:avLst>
                <a:gd name="adj" fmla="val 2213"/>
              </a:avLst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>
                <a:sym typeface="+mn-lt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6AAA0FE-6F61-9241-AA74-C749B1D0991D}"/>
                </a:ext>
              </a:extLst>
            </p:cNvPr>
            <p:cNvSpPr txBox="1"/>
            <p:nvPr/>
          </p:nvSpPr>
          <p:spPr>
            <a:xfrm>
              <a:off x="4819915" y="2315303"/>
              <a:ext cx="2738208" cy="1107996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 lvl="0">
                <a:lnSpc>
                  <a:spcPct val="150000"/>
                </a:lnSpc>
                <a:defRPr/>
              </a:pPr>
              <a:r>
                <a:rPr lang="ru-RU" sz="1200" dirty="0" smtClean="0">
                  <a:ea typeface="Euclid Circular A" panose="020B0504000000000000" pitchFamily="34" charset="-52"/>
                  <a:sym typeface="Arial"/>
                </a:rPr>
                <a:t>Заключение соглашения о сотрудничестве в области подготовки востребованных специалистов для предприятия </a:t>
              </a:r>
              <a:endParaRPr lang="ru-RU" sz="1200" dirty="0">
                <a:ea typeface="Euclid Circular A" panose="020B0504000000000000" pitchFamily="34" charset="-52"/>
                <a:sym typeface="Arial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D5FCA83-E087-7142-8980-98B486338C3C}"/>
                </a:ext>
              </a:extLst>
            </p:cNvPr>
            <p:cNvSpPr txBox="1"/>
            <p:nvPr/>
          </p:nvSpPr>
          <p:spPr>
            <a:xfrm>
              <a:off x="5554297" y="4446526"/>
              <a:ext cx="1926365" cy="184666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>
              <a:defPPr>
                <a:defRPr lang="ru-RU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200" b="1">
                  <a:solidFill>
                    <a:schemeClr val="accent1"/>
                  </a:solidFill>
                  <a:latin typeface="+mj-lt"/>
                  <a:ea typeface="Euclid Circular A" panose="020B0504000000000000" pitchFamily="34" charset="-52"/>
                </a:defRPr>
              </a:lvl1pPr>
            </a:lstStyle>
            <a:p>
              <a:r>
                <a:rPr lang="ru-RU" dirty="0" smtClean="0">
                  <a:solidFill>
                    <a:schemeClr val="tx1"/>
                  </a:solidFill>
                  <a:sym typeface="Arial"/>
                </a:rPr>
                <a:t>Финансовая поддержка </a:t>
              </a:r>
              <a:endParaRPr lang="ru-RU" dirty="0">
                <a:solidFill>
                  <a:schemeClr val="tx1"/>
                </a:solidFill>
                <a:sym typeface="Arial"/>
              </a:endParaRPr>
            </a:p>
          </p:txBody>
        </p: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125C34A-9EE4-4742-8C0E-6A580EC701AD}"/>
              </a:ext>
            </a:extLst>
          </p:cNvPr>
          <p:cNvGrpSpPr/>
          <p:nvPr/>
        </p:nvGrpSpPr>
        <p:grpSpPr>
          <a:xfrm rot="5400000">
            <a:off x="7846027" y="2305542"/>
            <a:ext cx="371579" cy="269130"/>
            <a:chOff x="1433528" y="4172580"/>
            <a:chExt cx="371579" cy="269130"/>
          </a:xfrm>
        </p:grpSpPr>
        <p:sp>
          <p:nvSpPr>
            <p:cNvPr id="33" name="Нашивка 32">
              <a:extLst>
                <a:ext uri="{FF2B5EF4-FFF2-40B4-BE49-F238E27FC236}">
                  <a16:creationId xmlns:a16="http://schemas.microsoft.com/office/drawing/2014/main" id="{EAA17902-B7E1-644A-9235-A255D3DD4E14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4" name="Нашивка 33">
              <a:extLst>
                <a:ext uri="{FF2B5EF4-FFF2-40B4-BE49-F238E27FC236}">
                  <a16:creationId xmlns:a16="http://schemas.microsoft.com/office/drawing/2014/main" id="{094FA44F-1F9A-B242-BF17-6A7F6BAD6ACC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D6A839F8-E0AC-734A-8575-5E566C7B234E}"/>
              </a:ext>
            </a:extLst>
          </p:cNvPr>
          <p:cNvGrpSpPr/>
          <p:nvPr/>
        </p:nvGrpSpPr>
        <p:grpSpPr>
          <a:xfrm rot="5400000">
            <a:off x="7846027" y="5001242"/>
            <a:ext cx="371579" cy="269130"/>
            <a:chOff x="1433528" y="4172580"/>
            <a:chExt cx="371579" cy="269130"/>
          </a:xfrm>
        </p:grpSpPr>
        <p:sp>
          <p:nvSpPr>
            <p:cNvPr id="36" name="Нашивка 35">
              <a:extLst>
                <a:ext uri="{FF2B5EF4-FFF2-40B4-BE49-F238E27FC236}">
                  <a16:creationId xmlns:a16="http://schemas.microsoft.com/office/drawing/2014/main" id="{0F5FD773-5D77-9844-8F91-0E185549177C}"/>
                </a:ext>
              </a:extLst>
            </p:cNvPr>
            <p:cNvSpPr/>
            <p:nvPr/>
          </p:nvSpPr>
          <p:spPr>
            <a:xfrm rot="16200000">
              <a:off x="1529622" y="4076486"/>
              <a:ext cx="179390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37" name="Нашивка 36">
              <a:extLst>
                <a:ext uri="{FF2B5EF4-FFF2-40B4-BE49-F238E27FC236}">
                  <a16:creationId xmlns:a16="http://schemas.microsoft.com/office/drawing/2014/main" id="{25B8E98A-AAC2-4A44-B28D-E4B32D35BEA8}"/>
                </a:ext>
              </a:extLst>
            </p:cNvPr>
            <p:cNvSpPr/>
            <p:nvPr/>
          </p:nvSpPr>
          <p:spPr>
            <a:xfrm rot="16200000">
              <a:off x="1529576" y="4166180"/>
              <a:ext cx="179483" cy="371578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5" name="Соединительная линия уступом 4">
            <a:extLst>
              <a:ext uri="{FF2B5EF4-FFF2-40B4-BE49-F238E27FC236}">
                <a16:creationId xmlns:a16="http://schemas.microsoft.com/office/drawing/2014/main" id="{04EC9207-7910-7C43-BDDA-DCF3310DB23E}"/>
              </a:ext>
            </a:extLst>
          </p:cNvPr>
          <p:cNvCxnSpPr>
            <a:cxnSpLocks/>
            <a:stCxn id="7" idx="3"/>
            <a:endCxn id="18" idx="1"/>
          </p:cNvCxnSpPr>
          <p:nvPr/>
        </p:nvCxnSpPr>
        <p:spPr>
          <a:xfrm flipV="1">
            <a:off x="3683275" y="2427980"/>
            <a:ext cx="980670" cy="136328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Соединительная линия уступом 9">
            <a:extLst>
              <a:ext uri="{FF2B5EF4-FFF2-40B4-BE49-F238E27FC236}">
                <a16:creationId xmlns:a16="http://schemas.microsoft.com/office/drawing/2014/main" id="{0396D239-6DFD-F844-AF96-AF1F9D1F074F}"/>
              </a:ext>
            </a:extLst>
          </p:cNvPr>
          <p:cNvCxnSpPr>
            <a:stCxn id="7" idx="3"/>
            <a:endCxn id="28" idx="1"/>
          </p:cNvCxnSpPr>
          <p:nvPr/>
        </p:nvCxnSpPr>
        <p:spPr>
          <a:xfrm>
            <a:off x="3683275" y="3791260"/>
            <a:ext cx="980670" cy="1340360"/>
          </a:xfrm>
          <a:prstGeom prst="bentConnector3">
            <a:avLst/>
          </a:prstGeom>
          <a:ln w="127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98F6F1AB-524C-4D41-8EA4-9D5A1A90DB30}"/>
              </a:ext>
            </a:extLst>
          </p:cNvPr>
          <p:cNvSpPr txBox="1"/>
          <p:nvPr/>
        </p:nvSpPr>
        <p:spPr>
          <a:xfrm>
            <a:off x="4819915" y="4961691"/>
            <a:ext cx="2481797" cy="83099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ru-RU" sz="1200" dirty="0" smtClean="0">
                <a:ea typeface="Euclid Circular A" panose="020B0504000000000000" pitchFamily="34" charset="-52"/>
                <a:sym typeface="Arial"/>
              </a:rPr>
              <a:t>Финансирование предприятием строительства новых мастерских и реконструкции здания  колледжа </a:t>
            </a:r>
            <a:endParaRPr lang="en-US" sz="1200" dirty="0">
              <a:ea typeface="Euclid Circular A" panose="020B0504000000000000" pitchFamily="34" charset="-52"/>
              <a:sym typeface="Arial"/>
            </a:endParaRP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B376CDAB-0525-4F11-8535-20BF7C5C5CE4}"/>
              </a:ext>
            </a:extLst>
          </p:cNvPr>
          <p:cNvGrpSpPr/>
          <p:nvPr/>
        </p:nvGrpSpPr>
        <p:grpSpPr>
          <a:xfrm>
            <a:off x="4821309" y="4281206"/>
            <a:ext cx="550305" cy="550305"/>
            <a:chOff x="8106751" y="1804128"/>
            <a:chExt cx="550305" cy="550305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7D1A9DC3-E61A-4F7B-B083-3CE0D5B94435}"/>
                </a:ext>
              </a:extLst>
            </p:cNvPr>
            <p:cNvSpPr/>
            <p:nvPr/>
          </p:nvSpPr>
          <p:spPr>
            <a:xfrm>
              <a:off x="8106751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3" name="Группа 42">
              <a:extLst>
                <a:ext uri="{FF2B5EF4-FFF2-40B4-BE49-F238E27FC236}">
                  <a16:creationId xmlns:a16="http://schemas.microsoft.com/office/drawing/2014/main" id="{2FB17488-277B-4FA0-B616-2C05BF84D028}"/>
                </a:ext>
              </a:extLst>
            </p:cNvPr>
            <p:cNvGrpSpPr/>
            <p:nvPr/>
          </p:nvGrpSpPr>
          <p:grpSpPr>
            <a:xfrm>
              <a:off x="8239703" y="1933918"/>
              <a:ext cx="284400" cy="280800"/>
              <a:chOff x="8239703" y="1908280"/>
              <a:chExt cx="284400" cy="280800"/>
            </a:xfrm>
          </p:grpSpPr>
          <p:sp>
            <p:nvSpPr>
              <p:cNvPr id="44" name="Рисунок 52">
                <a:extLst>
                  <a:ext uri="{FF2B5EF4-FFF2-40B4-BE49-F238E27FC236}">
                    <a16:creationId xmlns:a16="http://schemas.microsoft.com/office/drawing/2014/main" id="{7B56593F-75D9-4D03-8AEF-F58D22D51F33}"/>
                  </a:ext>
                </a:extLst>
              </p:cNvPr>
              <p:cNvSpPr/>
              <p:nvPr/>
            </p:nvSpPr>
            <p:spPr>
              <a:xfrm>
                <a:off x="8239703" y="1951480"/>
                <a:ext cx="284400" cy="237600"/>
              </a:xfrm>
              <a:custGeom>
                <a:avLst/>
                <a:gdLst>
                  <a:gd name="connsiteX0" fmla="*/ 279000 w 284400"/>
                  <a:gd name="connsiteY0" fmla="*/ 226800 h 237600"/>
                  <a:gd name="connsiteX1" fmla="*/ 262800 w 284400"/>
                  <a:gd name="connsiteY1" fmla="*/ 226800 h 237600"/>
                  <a:gd name="connsiteX2" fmla="*/ 262800 w 284400"/>
                  <a:gd name="connsiteY2" fmla="*/ 5400 h 237600"/>
                  <a:gd name="connsiteX3" fmla="*/ 257400 w 284400"/>
                  <a:gd name="connsiteY3" fmla="*/ 0 h 237600"/>
                  <a:gd name="connsiteX4" fmla="*/ 207000 w 284400"/>
                  <a:gd name="connsiteY4" fmla="*/ 0 h 237600"/>
                  <a:gd name="connsiteX5" fmla="*/ 201600 w 284400"/>
                  <a:gd name="connsiteY5" fmla="*/ 5400 h 237600"/>
                  <a:gd name="connsiteX6" fmla="*/ 201600 w 284400"/>
                  <a:gd name="connsiteY6" fmla="*/ 226800 h 237600"/>
                  <a:gd name="connsiteX7" fmla="*/ 172800 w 284400"/>
                  <a:gd name="connsiteY7" fmla="*/ 226800 h 237600"/>
                  <a:gd name="connsiteX8" fmla="*/ 172800 w 284400"/>
                  <a:gd name="connsiteY8" fmla="*/ 88200 h 237600"/>
                  <a:gd name="connsiteX9" fmla="*/ 167400 w 284400"/>
                  <a:gd name="connsiteY9" fmla="*/ 82800 h 237600"/>
                  <a:gd name="connsiteX10" fmla="*/ 117000 w 284400"/>
                  <a:gd name="connsiteY10" fmla="*/ 82800 h 237600"/>
                  <a:gd name="connsiteX11" fmla="*/ 111600 w 284400"/>
                  <a:gd name="connsiteY11" fmla="*/ 88200 h 237600"/>
                  <a:gd name="connsiteX12" fmla="*/ 111600 w 284400"/>
                  <a:gd name="connsiteY12" fmla="*/ 226800 h 237600"/>
                  <a:gd name="connsiteX13" fmla="*/ 82800 w 284400"/>
                  <a:gd name="connsiteY13" fmla="*/ 226800 h 237600"/>
                  <a:gd name="connsiteX14" fmla="*/ 82800 w 284400"/>
                  <a:gd name="connsiteY14" fmla="*/ 167400 h 237600"/>
                  <a:gd name="connsiteX15" fmla="*/ 77400 w 284400"/>
                  <a:gd name="connsiteY15" fmla="*/ 162000 h 237600"/>
                  <a:gd name="connsiteX16" fmla="*/ 27000 w 284400"/>
                  <a:gd name="connsiteY16" fmla="*/ 162000 h 237600"/>
                  <a:gd name="connsiteX17" fmla="*/ 21600 w 284400"/>
                  <a:gd name="connsiteY17" fmla="*/ 167400 h 237600"/>
                  <a:gd name="connsiteX18" fmla="*/ 21600 w 284400"/>
                  <a:gd name="connsiteY18" fmla="*/ 226800 h 237600"/>
                  <a:gd name="connsiteX19" fmla="*/ 5400 w 284400"/>
                  <a:gd name="connsiteY19" fmla="*/ 226800 h 237600"/>
                  <a:gd name="connsiteX20" fmla="*/ 0 w 284400"/>
                  <a:gd name="connsiteY20" fmla="*/ 232200 h 237600"/>
                  <a:gd name="connsiteX21" fmla="*/ 5400 w 284400"/>
                  <a:gd name="connsiteY21" fmla="*/ 237600 h 237600"/>
                  <a:gd name="connsiteX22" fmla="*/ 279000 w 284400"/>
                  <a:gd name="connsiteY22" fmla="*/ 237600 h 237600"/>
                  <a:gd name="connsiteX23" fmla="*/ 284400 w 284400"/>
                  <a:gd name="connsiteY23" fmla="*/ 232200 h 237600"/>
                  <a:gd name="connsiteX24" fmla="*/ 279000 w 284400"/>
                  <a:gd name="connsiteY24" fmla="*/ 226800 h 237600"/>
                  <a:gd name="connsiteX25" fmla="*/ 212400 w 284400"/>
                  <a:gd name="connsiteY25" fmla="*/ 10800 h 237600"/>
                  <a:gd name="connsiteX26" fmla="*/ 252000 w 284400"/>
                  <a:gd name="connsiteY26" fmla="*/ 10800 h 237600"/>
                  <a:gd name="connsiteX27" fmla="*/ 252000 w 284400"/>
                  <a:gd name="connsiteY27" fmla="*/ 226800 h 237600"/>
                  <a:gd name="connsiteX28" fmla="*/ 212400 w 284400"/>
                  <a:gd name="connsiteY28" fmla="*/ 226800 h 237600"/>
                  <a:gd name="connsiteX29" fmla="*/ 122400 w 284400"/>
                  <a:gd name="connsiteY29" fmla="*/ 93600 h 237600"/>
                  <a:gd name="connsiteX30" fmla="*/ 162000 w 284400"/>
                  <a:gd name="connsiteY30" fmla="*/ 93600 h 237600"/>
                  <a:gd name="connsiteX31" fmla="*/ 162000 w 284400"/>
                  <a:gd name="connsiteY31" fmla="*/ 226800 h 237600"/>
                  <a:gd name="connsiteX32" fmla="*/ 122400 w 284400"/>
                  <a:gd name="connsiteY32" fmla="*/ 226800 h 237600"/>
                  <a:gd name="connsiteX33" fmla="*/ 32400 w 284400"/>
                  <a:gd name="connsiteY33" fmla="*/ 172800 h 237600"/>
                  <a:gd name="connsiteX34" fmla="*/ 72000 w 284400"/>
                  <a:gd name="connsiteY34" fmla="*/ 172800 h 237600"/>
                  <a:gd name="connsiteX35" fmla="*/ 72000 w 284400"/>
                  <a:gd name="connsiteY35" fmla="*/ 226800 h 237600"/>
                  <a:gd name="connsiteX36" fmla="*/ 32400 w 284400"/>
                  <a:gd name="connsiteY36" fmla="*/ 226800 h 23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84400" h="237600">
                    <a:moveTo>
                      <a:pt x="279000" y="226800"/>
                    </a:moveTo>
                    <a:lnTo>
                      <a:pt x="262800" y="226800"/>
                    </a:lnTo>
                    <a:lnTo>
                      <a:pt x="262800" y="5400"/>
                    </a:lnTo>
                    <a:cubicBezTo>
                      <a:pt x="262800" y="2418"/>
                      <a:pt x="260382" y="0"/>
                      <a:pt x="257400" y="0"/>
                    </a:cubicBezTo>
                    <a:lnTo>
                      <a:pt x="207000" y="0"/>
                    </a:lnTo>
                    <a:cubicBezTo>
                      <a:pt x="204018" y="0"/>
                      <a:pt x="201600" y="2418"/>
                      <a:pt x="201600" y="5400"/>
                    </a:cubicBezTo>
                    <a:lnTo>
                      <a:pt x="201600" y="226800"/>
                    </a:lnTo>
                    <a:lnTo>
                      <a:pt x="172800" y="226800"/>
                    </a:lnTo>
                    <a:lnTo>
                      <a:pt x="172800" y="88200"/>
                    </a:lnTo>
                    <a:cubicBezTo>
                      <a:pt x="172800" y="85218"/>
                      <a:pt x="170382" y="82800"/>
                      <a:pt x="167400" y="82800"/>
                    </a:cubicBezTo>
                    <a:lnTo>
                      <a:pt x="117000" y="82800"/>
                    </a:lnTo>
                    <a:cubicBezTo>
                      <a:pt x="114018" y="82800"/>
                      <a:pt x="111600" y="85218"/>
                      <a:pt x="111600" y="88200"/>
                    </a:cubicBezTo>
                    <a:lnTo>
                      <a:pt x="111600" y="226800"/>
                    </a:lnTo>
                    <a:lnTo>
                      <a:pt x="82800" y="226800"/>
                    </a:lnTo>
                    <a:lnTo>
                      <a:pt x="82800" y="167400"/>
                    </a:lnTo>
                    <a:cubicBezTo>
                      <a:pt x="82800" y="164418"/>
                      <a:pt x="80382" y="162000"/>
                      <a:pt x="77400" y="162000"/>
                    </a:cubicBezTo>
                    <a:lnTo>
                      <a:pt x="27000" y="162000"/>
                    </a:lnTo>
                    <a:cubicBezTo>
                      <a:pt x="24018" y="162000"/>
                      <a:pt x="21600" y="164418"/>
                      <a:pt x="21600" y="167400"/>
                    </a:cubicBezTo>
                    <a:lnTo>
                      <a:pt x="21600" y="226800"/>
                    </a:lnTo>
                    <a:lnTo>
                      <a:pt x="5400" y="226800"/>
                    </a:lnTo>
                    <a:cubicBezTo>
                      <a:pt x="2418" y="226800"/>
                      <a:pt x="0" y="229218"/>
                      <a:pt x="0" y="232200"/>
                    </a:cubicBezTo>
                    <a:cubicBezTo>
                      <a:pt x="0" y="235182"/>
                      <a:pt x="2418" y="237600"/>
                      <a:pt x="5400" y="237600"/>
                    </a:cubicBezTo>
                    <a:lnTo>
                      <a:pt x="279000" y="237600"/>
                    </a:lnTo>
                    <a:cubicBezTo>
                      <a:pt x="281982" y="237600"/>
                      <a:pt x="284400" y="235182"/>
                      <a:pt x="284400" y="232200"/>
                    </a:cubicBezTo>
                    <a:cubicBezTo>
                      <a:pt x="284400" y="229218"/>
                      <a:pt x="281982" y="226800"/>
                      <a:pt x="279000" y="226800"/>
                    </a:cubicBezTo>
                    <a:close/>
                    <a:moveTo>
                      <a:pt x="212400" y="10800"/>
                    </a:moveTo>
                    <a:lnTo>
                      <a:pt x="252000" y="10800"/>
                    </a:lnTo>
                    <a:lnTo>
                      <a:pt x="252000" y="226800"/>
                    </a:lnTo>
                    <a:lnTo>
                      <a:pt x="212400" y="226800"/>
                    </a:lnTo>
                    <a:close/>
                    <a:moveTo>
                      <a:pt x="122400" y="93600"/>
                    </a:moveTo>
                    <a:lnTo>
                      <a:pt x="162000" y="93600"/>
                    </a:lnTo>
                    <a:lnTo>
                      <a:pt x="162000" y="226800"/>
                    </a:lnTo>
                    <a:lnTo>
                      <a:pt x="122400" y="226800"/>
                    </a:lnTo>
                    <a:close/>
                    <a:moveTo>
                      <a:pt x="32400" y="172800"/>
                    </a:moveTo>
                    <a:lnTo>
                      <a:pt x="72000" y="172800"/>
                    </a:lnTo>
                    <a:lnTo>
                      <a:pt x="72000" y="226800"/>
                    </a:lnTo>
                    <a:lnTo>
                      <a:pt x="32400" y="226800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Рисунок 52">
                <a:extLst>
                  <a:ext uri="{FF2B5EF4-FFF2-40B4-BE49-F238E27FC236}">
                    <a16:creationId xmlns:a16="http://schemas.microsoft.com/office/drawing/2014/main" id="{5E0FBDF8-B692-475F-819F-8B1765C2C422}"/>
                  </a:ext>
                </a:extLst>
              </p:cNvPr>
              <p:cNvSpPr/>
              <p:nvPr/>
            </p:nvSpPr>
            <p:spPr>
              <a:xfrm>
                <a:off x="8243307" y="1908280"/>
                <a:ext cx="169195" cy="169200"/>
              </a:xfrm>
              <a:custGeom>
                <a:avLst/>
                <a:gdLst>
                  <a:gd name="connsiteX0" fmla="*/ 5395 w 169195"/>
                  <a:gd name="connsiteY0" fmla="*/ 169200 h 169200"/>
                  <a:gd name="connsiteX1" fmla="*/ 9211 w 169195"/>
                  <a:gd name="connsiteY1" fmla="*/ 167616 h 169200"/>
                  <a:gd name="connsiteX2" fmla="*/ 158395 w 169195"/>
                  <a:gd name="connsiteY2" fmla="*/ 18432 h 169200"/>
                  <a:gd name="connsiteX3" fmla="*/ 158395 w 169195"/>
                  <a:gd name="connsiteY3" fmla="*/ 41400 h 169200"/>
                  <a:gd name="connsiteX4" fmla="*/ 163795 w 169195"/>
                  <a:gd name="connsiteY4" fmla="*/ 46800 h 169200"/>
                  <a:gd name="connsiteX5" fmla="*/ 169195 w 169195"/>
                  <a:gd name="connsiteY5" fmla="*/ 41400 h 169200"/>
                  <a:gd name="connsiteX6" fmla="*/ 169195 w 169195"/>
                  <a:gd name="connsiteY6" fmla="*/ 5400 h 169200"/>
                  <a:gd name="connsiteX7" fmla="*/ 168799 w 169195"/>
                  <a:gd name="connsiteY7" fmla="*/ 3420 h 169200"/>
                  <a:gd name="connsiteX8" fmla="*/ 168799 w 169195"/>
                  <a:gd name="connsiteY8" fmla="*/ 3420 h 169200"/>
                  <a:gd name="connsiteX9" fmla="*/ 165847 w 169195"/>
                  <a:gd name="connsiteY9" fmla="*/ 468 h 169200"/>
                  <a:gd name="connsiteX10" fmla="*/ 165847 w 169195"/>
                  <a:gd name="connsiteY10" fmla="*/ 468 h 169200"/>
                  <a:gd name="connsiteX11" fmla="*/ 163795 w 169195"/>
                  <a:gd name="connsiteY11" fmla="*/ 0 h 169200"/>
                  <a:gd name="connsiteX12" fmla="*/ 127795 w 169195"/>
                  <a:gd name="connsiteY12" fmla="*/ 0 h 169200"/>
                  <a:gd name="connsiteX13" fmla="*/ 122395 w 169195"/>
                  <a:gd name="connsiteY13" fmla="*/ 5400 h 169200"/>
                  <a:gd name="connsiteX14" fmla="*/ 127795 w 169195"/>
                  <a:gd name="connsiteY14" fmla="*/ 10800 h 169200"/>
                  <a:gd name="connsiteX15" fmla="*/ 150763 w 169195"/>
                  <a:gd name="connsiteY15" fmla="*/ 10800 h 169200"/>
                  <a:gd name="connsiteX16" fmla="*/ 1579 w 169195"/>
                  <a:gd name="connsiteY16" fmla="*/ 159984 h 169200"/>
                  <a:gd name="connsiteX17" fmla="*/ 1584 w 169195"/>
                  <a:gd name="connsiteY17" fmla="*/ 167621 h 169200"/>
                  <a:gd name="connsiteX18" fmla="*/ 5395 w 169195"/>
                  <a:gd name="connsiteY18" fmla="*/ 169200 h 16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9195" h="169200">
                    <a:moveTo>
                      <a:pt x="5395" y="169200"/>
                    </a:moveTo>
                    <a:cubicBezTo>
                      <a:pt x="6827" y="169199"/>
                      <a:pt x="8200" y="168629"/>
                      <a:pt x="9211" y="167616"/>
                    </a:cubicBezTo>
                    <a:lnTo>
                      <a:pt x="158395" y="18432"/>
                    </a:lnTo>
                    <a:lnTo>
                      <a:pt x="158395" y="41400"/>
                    </a:lnTo>
                    <a:cubicBezTo>
                      <a:pt x="158395" y="44382"/>
                      <a:pt x="160813" y="46800"/>
                      <a:pt x="163795" y="46800"/>
                    </a:cubicBezTo>
                    <a:cubicBezTo>
                      <a:pt x="166777" y="46800"/>
                      <a:pt x="169195" y="44382"/>
                      <a:pt x="169195" y="41400"/>
                    </a:cubicBezTo>
                    <a:lnTo>
                      <a:pt x="169195" y="5400"/>
                    </a:lnTo>
                    <a:cubicBezTo>
                      <a:pt x="169190" y="4721"/>
                      <a:pt x="169056" y="4049"/>
                      <a:pt x="168799" y="3420"/>
                    </a:cubicBezTo>
                    <a:lnTo>
                      <a:pt x="168799" y="3420"/>
                    </a:lnTo>
                    <a:cubicBezTo>
                      <a:pt x="168251" y="2080"/>
                      <a:pt x="167187" y="1016"/>
                      <a:pt x="165847" y="468"/>
                    </a:cubicBezTo>
                    <a:lnTo>
                      <a:pt x="165847" y="468"/>
                    </a:lnTo>
                    <a:cubicBezTo>
                      <a:pt x="165201" y="178"/>
                      <a:pt x="164503" y="19"/>
                      <a:pt x="163795" y="0"/>
                    </a:cubicBezTo>
                    <a:lnTo>
                      <a:pt x="127795" y="0"/>
                    </a:lnTo>
                    <a:cubicBezTo>
                      <a:pt x="124813" y="0"/>
                      <a:pt x="122395" y="2418"/>
                      <a:pt x="122395" y="5400"/>
                    </a:cubicBezTo>
                    <a:cubicBezTo>
                      <a:pt x="122395" y="8382"/>
                      <a:pt x="124813" y="10800"/>
                      <a:pt x="127795" y="10800"/>
                    </a:cubicBezTo>
                    <a:lnTo>
                      <a:pt x="150763" y="10800"/>
                    </a:lnTo>
                    <a:lnTo>
                      <a:pt x="1579" y="159984"/>
                    </a:lnTo>
                    <a:cubicBezTo>
                      <a:pt x="-528" y="162094"/>
                      <a:pt x="-526" y="165513"/>
                      <a:pt x="1584" y="167621"/>
                    </a:cubicBezTo>
                    <a:cubicBezTo>
                      <a:pt x="2595" y="168631"/>
                      <a:pt x="3966" y="169199"/>
                      <a:pt x="5395" y="1692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6" name="Группа 45">
            <a:extLst>
              <a:ext uri="{FF2B5EF4-FFF2-40B4-BE49-F238E27FC236}">
                <a16:creationId xmlns:a16="http://schemas.microsoft.com/office/drawing/2014/main" id="{A75119B7-BB6D-4915-BD6C-E2D421CFD517}"/>
              </a:ext>
            </a:extLst>
          </p:cNvPr>
          <p:cNvGrpSpPr/>
          <p:nvPr/>
        </p:nvGrpSpPr>
        <p:grpSpPr>
          <a:xfrm>
            <a:off x="4767309" y="1585093"/>
            <a:ext cx="550305" cy="550305"/>
            <a:chOff x="1729142" y="2873137"/>
            <a:chExt cx="550305" cy="550305"/>
          </a:xfrm>
        </p:grpSpPr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96CBA8E2-A1FA-4E44-80A2-748A2AADF70E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Рисунок 55">
              <a:extLst>
                <a:ext uri="{FF2B5EF4-FFF2-40B4-BE49-F238E27FC236}">
                  <a16:creationId xmlns:a16="http://schemas.microsoft.com/office/drawing/2014/main" id="{31348D01-A8F8-4963-A9D1-89C30BDE1649}"/>
                </a:ext>
              </a:extLst>
            </p:cNvPr>
            <p:cNvSpPr/>
            <p:nvPr/>
          </p:nvSpPr>
          <p:spPr>
            <a:xfrm>
              <a:off x="1831151" y="3028387"/>
              <a:ext cx="346288" cy="239788"/>
            </a:xfrm>
            <a:custGeom>
              <a:avLst/>
              <a:gdLst>
                <a:gd name="connsiteX0" fmla="*/ 345744 w 346288"/>
                <a:gd name="connsiteY0" fmla="*/ 122828 h 239788"/>
                <a:gd name="connsiteX1" fmla="*/ 338530 w 346288"/>
                <a:gd name="connsiteY1" fmla="*/ 120329 h 239788"/>
                <a:gd name="connsiteX2" fmla="*/ 300330 w 346288"/>
                <a:gd name="connsiteY2" fmla="*/ 138887 h 239788"/>
                <a:gd name="connsiteX3" fmla="*/ 274299 w 346288"/>
                <a:gd name="connsiteY3" fmla="*/ 150163 h 239788"/>
                <a:gd name="connsiteX4" fmla="*/ 250798 w 346288"/>
                <a:gd name="connsiteY4" fmla="*/ 143704 h 239788"/>
                <a:gd name="connsiteX5" fmla="*/ 246276 w 346288"/>
                <a:gd name="connsiteY5" fmla="*/ 142020 h 239788"/>
                <a:gd name="connsiteX6" fmla="*/ 244267 w 346288"/>
                <a:gd name="connsiteY6" fmla="*/ 141692 h 239788"/>
                <a:gd name="connsiteX7" fmla="*/ 236419 w 346288"/>
                <a:gd name="connsiteY7" fmla="*/ 138855 h 239788"/>
                <a:gd name="connsiteX8" fmla="*/ 204934 w 346288"/>
                <a:gd name="connsiteY8" fmla="*/ 120002 h 239788"/>
                <a:gd name="connsiteX9" fmla="*/ 178409 w 346288"/>
                <a:gd name="connsiteY9" fmla="*/ 90014 h 239788"/>
                <a:gd name="connsiteX10" fmla="*/ 171720 w 346288"/>
                <a:gd name="connsiteY10" fmla="*/ 88624 h 239788"/>
                <a:gd name="connsiteX11" fmla="*/ 140519 w 346288"/>
                <a:gd name="connsiteY11" fmla="*/ 95925 h 239788"/>
                <a:gd name="connsiteX12" fmla="*/ 124510 w 346288"/>
                <a:gd name="connsiteY12" fmla="*/ 86698 h 239788"/>
                <a:gd name="connsiteX13" fmla="*/ 122188 w 346288"/>
                <a:gd name="connsiteY13" fmla="*/ 75218 h 239788"/>
                <a:gd name="connsiteX14" fmla="*/ 135090 w 346288"/>
                <a:gd name="connsiteY14" fmla="*/ 76089 h 239788"/>
                <a:gd name="connsiteX15" fmla="*/ 151593 w 346288"/>
                <a:gd name="connsiteY15" fmla="*/ 76661 h 239788"/>
                <a:gd name="connsiteX16" fmla="*/ 182308 w 346288"/>
                <a:gd name="connsiteY16" fmla="*/ 55004 h 239788"/>
                <a:gd name="connsiteX17" fmla="*/ 221962 w 346288"/>
                <a:gd name="connsiteY17" fmla="*/ 52214 h 239788"/>
                <a:gd name="connsiteX18" fmla="*/ 243767 w 346288"/>
                <a:gd name="connsiteY18" fmla="*/ 56325 h 239788"/>
                <a:gd name="connsiteX19" fmla="*/ 269583 w 346288"/>
                <a:gd name="connsiteY19" fmla="*/ 50997 h 239788"/>
                <a:gd name="connsiteX20" fmla="*/ 322632 w 346288"/>
                <a:gd name="connsiteY20" fmla="*/ 22647 h 239788"/>
                <a:gd name="connsiteX21" fmla="*/ 324850 w 346288"/>
                <a:gd name="connsiteY21" fmla="*/ 15339 h 239788"/>
                <a:gd name="connsiteX22" fmla="*/ 317542 w 346288"/>
                <a:gd name="connsiteY22" fmla="*/ 13121 h 239788"/>
                <a:gd name="connsiteX23" fmla="*/ 264730 w 346288"/>
                <a:gd name="connsiteY23" fmla="*/ 41349 h 239788"/>
                <a:gd name="connsiteX24" fmla="*/ 225954 w 346288"/>
                <a:gd name="connsiteY24" fmla="*/ 42177 h 239788"/>
                <a:gd name="connsiteX25" fmla="*/ 179536 w 346288"/>
                <a:gd name="connsiteY25" fmla="*/ 44521 h 239788"/>
                <a:gd name="connsiteX26" fmla="*/ 141444 w 346288"/>
                <a:gd name="connsiteY26" fmla="*/ 35521 h 239788"/>
                <a:gd name="connsiteX27" fmla="*/ 96754 w 346288"/>
                <a:gd name="connsiteY27" fmla="*/ 36161 h 239788"/>
                <a:gd name="connsiteX28" fmla="*/ 30172 w 346288"/>
                <a:gd name="connsiteY28" fmla="*/ 691 h 239788"/>
                <a:gd name="connsiteX29" fmla="*/ 22821 w 346288"/>
                <a:gd name="connsiteY29" fmla="*/ 2761 h 239788"/>
                <a:gd name="connsiteX30" fmla="*/ 24887 w 346288"/>
                <a:gd name="connsiteY30" fmla="*/ 10112 h 239788"/>
                <a:gd name="connsiteX31" fmla="*/ 94608 w 346288"/>
                <a:gd name="connsiteY31" fmla="*/ 46742 h 239788"/>
                <a:gd name="connsiteX32" fmla="*/ 143068 w 346288"/>
                <a:gd name="connsiteY32" fmla="*/ 46198 h 239788"/>
                <a:gd name="connsiteX33" fmla="*/ 168912 w 346288"/>
                <a:gd name="connsiteY33" fmla="*/ 52174 h 239788"/>
                <a:gd name="connsiteX34" fmla="*/ 148270 w 346288"/>
                <a:gd name="connsiteY34" fmla="*/ 66380 h 239788"/>
                <a:gd name="connsiteX35" fmla="*/ 136890 w 346288"/>
                <a:gd name="connsiteY35" fmla="*/ 65433 h 239788"/>
                <a:gd name="connsiteX36" fmla="*/ 114304 w 346288"/>
                <a:gd name="connsiteY36" fmla="*/ 67748 h 239788"/>
                <a:gd name="connsiteX37" fmla="*/ 116190 w 346288"/>
                <a:gd name="connsiteY37" fmla="*/ 93585 h 239788"/>
                <a:gd name="connsiteX38" fmla="*/ 137470 w 346288"/>
                <a:gd name="connsiteY38" fmla="*/ 106282 h 239788"/>
                <a:gd name="connsiteX39" fmla="*/ 172721 w 346288"/>
                <a:gd name="connsiteY39" fmla="*/ 100112 h 239788"/>
                <a:gd name="connsiteX40" fmla="*/ 197856 w 346288"/>
                <a:gd name="connsiteY40" fmla="*/ 128156 h 239788"/>
                <a:gd name="connsiteX41" fmla="*/ 232060 w 346288"/>
                <a:gd name="connsiteY41" fmla="*/ 148730 h 239788"/>
                <a:gd name="connsiteX42" fmla="*/ 247277 w 346288"/>
                <a:gd name="connsiteY42" fmla="*/ 153910 h 239788"/>
                <a:gd name="connsiteX43" fmla="*/ 272603 w 346288"/>
                <a:gd name="connsiteY43" fmla="*/ 163346 h 239788"/>
                <a:gd name="connsiteX44" fmla="*/ 275591 w 346288"/>
                <a:gd name="connsiteY44" fmla="*/ 167140 h 239788"/>
                <a:gd name="connsiteX45" fmla="*/ 275026 w 346288"/>
                <a:gd name="connsiteY45" fmla="*/ 177735 h 239788"/>
                <a:gd name="connsiteX46" fmla="*/ 265324 w 346288"/>
                <a:gd name="connsiteY46" fmla="*/ 182962 h 239788"/>
                <a:gd name="connsiteX47" fmla="*/ 262829 w 346288"/>
                <a:gd name="connsiteY47" fmla="*/ 182242 h 239788"/>
                <a:gd name="connsiteX48" fmla="*/ 228492 w 346288"/>
                <a:gd name="connsiteY48" fmla="*/ 164429 h 239788"/>
                <a:gd name="connsiteX49" fmla="*/ 221213 w 346288"/>
                <a:gd name="connsiteY49" fmla="*/ 166737 h 239788"/>
                <a:gd name="connsiteX50" fmla="*/ 223521 w 346288"/>
                <a:gd name="connsiteY50" fmla="*/ 174016 h 239788"/>
                <a:gd name="connsiteX51" fmla="*/ 258102 w 346288"/>
                <a:gd name="connsiteY51" fmla="*/ 191951 h 239788"/>
                <a:gd name="connsiteX52" fmla="*/ 258419 w 346288"/>
                <a:gd name="connsiteY52" fmla="*/ 192081 h 239788"/>
                <a:gd name="connsiteX53" fmla="*/ 258048 w 346288"/>
                <a:gd name="connsiteY53" fmla="*/ 195652 h 239788"/>
                <a:gd name="connsiteX54" fmla="*/ 257325 w 346288"/>
                <a:gd name="connsiteY54" fmla="*/ 198622 h 239788"/>
                <a:gd name="connsiteX55" fmla="*/ 245520 w 346288"/>
                <a:gd name="connsiteY55" fmla="*/ 202773 h 239788"/>
                <a:gd name="connsiteX56" fmla="*/ 216537 w 346288"/>
                <a:gd name="connsiteY56" fmla="*/ 190177 h 239788"/>
                <a:gd name="connsiteX57" fmla="*/ 216141 w 346288"/>
                <a:gd name="connsiteY57" fmla="*/ 190051 h 239788"/>
                <a:gd name="connsiteX58" fmla="*/ 215622 w 346288"/>
                <a:gd name="connsiteY58" fmla="*/ 189885 h 239788"/>
                <a:gd name="connsiteX59" fmla="*/ 215089 w 346288"/>
                <a:gd name="connsiteY59" fmla="*/ 189799 h 239788"/>
                <a:gd name="connsiteX60" fmla="*/ 214578 w 346288"/>
                <a:gd name="connsiteY60" fmla="*/ 189741 h 239788"/>
                <a:gd name="connsiteX61" fmla="*/ 214035 w 346288"/>
                <a:gd name="connsiteY61" fmla="*/ 189763 h 239788"/>
                <a:gd name="connsiteX62" fmla="*/ 213541 w 346288"/>
                <a:gd name="connsiteY62" fmla="*/ 189806 h 239788"/>
                <a:gd name="connsiteX63" fmla="*/ 213016 w 346288"/>
                <a:gd name="connsiteY63" fmla="*/ 189928 h 239788"/>
                <a:gd name="connsiteX64" fmla="*/ 212541 w 346288"/>
                <a:gd name="connsiteY64" fmla="*/ 190065 h 239788"/>
                <a:gd name="connsiteX65" fmla="*/ 212062 w 346288"/>
                <a:gd name="connsiteY65" fmla="*/ 190281 h 239788"/>
                <a:gd name="connsiteX66" fmla="*/ 211605 w 346288"/>
                <a:gd name="connsiteY66" fmla="*/ 190515 h 239788"/>
                <a:gd name="connsiteX67" fmla="*/ 211187 w 346288"/>
                <a:gd name="connsiteY67" fmla="*/ 190810 h 239788"/>
                <a:gd name="connsiteX68" fmla="*/ 210769 w 346288"/>
                <a:gd name="connsiteY68" fmla="*/ 191138 h 239788"/>
                <a:gd name="connsiteX69" fmla="*/ 210417 w 346288"/>
                <a:gd name="connsiteY69" fmla="*/ 191509 h 239788"/>
                <a:gd name="connsiteX70" fmla="*/ 210060 w 346288"/>
                <a:gd name="connsiteY70" fmla="*/ 191923 h 239788"/>
                <a:gd name="connsiteX71" fmla="*/ 209779 w 346288"/>
                <a:gd name="connsiteY71" fmla="*/ 192369 h 239788"/>
                <a:gd name="connsiteX72" fmla="*/ 209553 w 346288"/>
                <a:gd name="connsiteY72" fmla="*/ 192736 h 239788"/>
                <a:gd name="connsiteX73" fmla="*/ 209502 w 346288"/>
                <a:gd name="connsiteY73" fmla="*/ 192869 h 239788"/>
                <a:gd name="connsiteX74" fmla="*/ 209441 w 346288"/>
                <a:gd name="connsiteY74" fmla="*/ 192981 h 239788"/>
                <a:gd name="connsiteX75" fmla="*/ 209322 w 346288"/>
                <a:gd name="connsiteY75" fmla="*/ 193352 h 239788"/>
                <a:gd name="connsiteX76" fmla="*/ 209146 w 346288"/>
                <a:gd name="connsiteY76" fmla="*/ 193903 h 239788"/>
                <a:gd name="connsiteX77" fmla="*/ 209067 w 346288"/>
                <a:gd name="connsiteY77" fmla="*/ 194407 h 239788"/>
                <a:gd name="connsiteX78" fmla="*/ 209009 w 346288"/>
                <a:gd name="connsiteY78" fmla="*/ 194947 h 239788"/>
                <a:gd name="connsiteX79" fmla="*/ 209027 w 346288"/>
                <a:gd name="connsiteY79" fmla="*/ 195465 h 239788"/>
                <a:gd name="connsiteX80" fmla="*/ 209070 w 346288"/>
                <a:gd name="connsiteY80" fmla="*/ 195984 h 239788"/>
                <a:gd name="connsiteX81" fmla="*/ 209189 w 346288"/>
                <a:gd name="connsiteY81" fmla="*/ 196495 h 239788"/>
                <a:gd name="connsiteX82" fmla="*/ 209329 w 346288"/>
                <a:gd name="connsiteY82" fmla="*/ 196984 h 239788"/>
                <a:gd name="connsiteX83" fmla="*/ 209542 w 346288"/>
                <a:gd name="connsiteY83" fmla="*/ 197459 h 239788"/>
                <a:gd name="connsiteX84" fmla="*/ 209772 w 346288"/>
                <a:gd name="connsiteY84" fmla="*/ 197913 h 239788"/>
                <a:gd name="connsiteX85" fmla="*/ 210075 w 346288"/>
                <a:gd name="connsiteY85" fmla="*/ 198345 h 239788"/>
                <a:gd name="connsiteX86" fmla="*/ 210391 w 346288"/>
                <a:gd name="connsiteY86" fmla="*/ 198752 h 239788"/>
                <a:gd name="connsiteX87" fmla="*/ 210784 w 346288"/>
                <a:gd name="connsiteY87" fmla="*/ 199123 h 239788"/>
                <a:gd name="connsiteX88" fmla="*/ 211176 w 346288"/>
                <a:gd name="connsiteY88" fmla="*/ 199461 h 239788"/>
                <a:gd name="connsiteX89" fmla="*/ 211648 w 346288"/>
                <a:gd name="connsiteY89" fmla="*/ 199756 h 239788"/>
                <a:gd name="connsiteX90" fmla="*/ 211990 w 346288"/>
                <a:gd name="connsiteY90" fmla="*/ 199972 h 239788"/>
                <a:gd name="connsiteX91" fmla="*/ 219715 w 346288"/>
                <a:gd name="connsiteY91" fmla="*/ 203799 h 239788"/>
                <a:gd name="connsiteX92" fmla="*/ 224093 w 346288"/>
                <a:gd name="connsiteY92" fmla="*/ 216068 h 239788"/>
                <a:gd name="connsiteX93" fmla="*/ 218812 w 346288"/>
                <a:gd name="connsiteY93" fmla="*/ 220859 h 239788"/>
                <a:gd name="connsiteX94" fmla="*/ 211813 w 346288"/>
                <a:gd name="connsiteY94" fmla="*/ 220507 h 239788"/>
                <a:gd name="connsiteX95" fmla="*/ 190087 w 346288"/>
                <a:gd name="connsiteY95" fmla="*/ 210243 h 239788"/>
                <a:gd name="connsiteX96" fmla="*/ 196279 w 346288"/>
                <a:gd name="connsiteY96" fmla="*/ 199738 h 239788"/>
                <a:gd name="connsiteX97" fmla="*/ 188806 w 346288"/>
                <a:gd name="connsiteY97" fmla="*/ 170611 h 239788"/>
                <a:gd name="connsiteX98" fmla="*/ 188799 w 346288"/>
                <a:gd name="connsiteY98" fmla="*/ 170607 h 239788"/>
                <a:gd name="connsiteX99" fmla="*/ 174424 w 346288"/>
                <a:gd name="connsiteY99" fmla="*/ 167936 h 239788"/>
                <a:gd name="connsiteX100" fmla="*/ 162331 w 346288"/>
                <a:gd name="connsiteY100" fmla="*/ 143434 h 239788"/>
                <a:gd name="connsiteX101" fmla="*/ 162303 w 346288"/>
                <a:gd name="connsiteY101" fmla="*/ 143416 h 239788"/>
                <a:gd name="connsiteX102" fmla="*/ 135295 w 346288"/>
                <a:gd name="connsiteY102" fmla="*/ 144338 h 239788"/>
                <a:gd name="connsiteX103" fmla="*/ 125975 w 346288"/>
                <a:gd name="connsiteY103" fmla="*/ 132771 h 239788"/>
                <a:gd name="connsiteX104" fmla="*/ 96765 w 346288"/>
                <a:gd name="connsiteY104" fmla="*/ 140252 h 239788"/>
                <a:gd name="connsiteX105" fmla="*/ 82285 w 346288"/>
                <a:gd name="connsiteY105" fmla="*/ 164757 h 239788"/>
                <a:gd name="connsiteX106" fmla="*/ 46847 w 346288"/>
                <a:gd name="connsiteY106" fmla="*/ 139406 h 239788"/>
                <a:gd name="connsiteX107" fmla="*/ 46447 w 346288"/>
                <a:gd name="connsiteY107" fmla="*/ 139179 h 239788"/>
                <a:gd name="connsiteX108" fmla="*/ 46066 w 346288"/>
                <a:gd name="connsiteY108" fmla="*/ 138945 h 239788"/>
                <a:gd name="connsiteX109" fmla="*/ 7758 w 346288"/>
                <a:gd name="connsiteY109" fmla="*/ 120340 h 239788"/>
                <a:gd name="connsiteX110" fmla="*/ 544 w 346288"/>
                <a:gd name="connsiteY110" fmla="*/ 122839 h 239788"/>
                <a:gd name="connsiteX111" fmla="*/ 3042 w 346288"/>
                <a:gd name="connsiteY111" fmla="*/ 130057 h 239788"/>
                <a:gd name="connsiteX112" fmla="*/ 40939 w 346288"/>
                <a:gd name="connsiteY112" fmla="*/ 148467 h 239788"/>
                <a:gd name="connsiteX113" fmla="*/ 77285 w 346288"/>
                <a:gd name="connsiteY113" fmla="*/ 174470 h 239788"/>
                <a:gd name="connsiteX114" fmla="*/ 86865 w 346288"/>
                <a:gd name="connsiteY114" fmla="*/ 199018 h 239788"/>
                <a:gd name="connsiteX115" fmla="*/ 97665 w 346288"/>
                <a:gd name="connsiteY115" fmla="*/ 201967 h 239788"/>
                <a:gd name="connsiteX116" fmla="*/ 101185 w 346288"/>
                <a:gd name="connsiteY116" fmla="*/ 201639 h 239788"/>
                <a:gd name="connsiteX117" fmla="*/ 113364 w 346288"/>
                <a:gd name="connsiteY117" fmla="*/ 226335 h 239788"/>
                <a:gd name="connsiteX118" fmla="*/ 125971 w 346288"/>
                <a:gd name="connsiteY118" fmla="*/ 229784 h 239788"/>
                <a:gd name="connsiteX119" fmla="*/ 132714 w 346288"/>
                <a:gd name="connsiteY119" fmla="*/ 228869 h 239788"/>
                <a:gd name="connsiteX120" fmla="*/ 140339 w 346288"/>
                <a:gd name="connsiteY120" fmla="*/ 225352 h 239788"/>
                <a:gd name="connsiteX121" fmla="*/ 149674 w 346288"/>
                <a:gd name="connsiteY121" fmla="*/ 236844 h 239788"/>
                <a:gd name="connsiteX122" fmla="*/ 160459 w 346288"/>
                <a:gd name="connsiteY122" fmla="*/ 239788 h 239788"/>
                <a:gd name="connsiteX123" fmla="*/ 178837 w 346288"/>
                <a:gd name="connsiteY123" fmla="*/ 229355 h 239788"/>
                <a:gd name="connsiteX124" fmla="*/ 184587 w 346288"/>
                <a:gd name="connsiteY124" fmla="*/ 219596 h 239788"/>
                <a:gd name="connsiteX125" fmla="*/ 207191 w 346288"/>
                <a:gd name="connsiteY125" fmla="*/ 230277 h 239788"/>
                <a:gd name="connsiteX126" fmla="*/ 215723 w 346288"/>
                <a:gd name="connsiteY126" fmla="*/ 232217 h 239788"/>
                <a:gd name="connsiteX127" fmla="*/ 222448 w 346288"/>
                <a:gd name="connsiteY127" fmla="*/ 231044 h 239788"/>
                <a:gd name="connsiteX128" fmla="*/ 233863 w 346288"/>
                <a:gd name="connsiteY128" fmla="*/ 220694 h 239788"/>
                <a:gd name="connsiteX129" fmla="*/ 235674 w 346288"/>
                <a:gd name="connsiteY129" fmla="*/ 210283 h 239788"/>
                <a:gd name="connsiteX130" fmla="*/ 241240 w 346288"/>
                <a:gd name="connsiteY130" fmla="*/ 212702 h 239788"/>
                <a:gd name="connsiteX131" fmla="*/ 249106 w 346288"/>
                <a:gd name="connsiteY131" fmla="*/ 214325 h 239788"/>
                <a:gd name="connsiteX132" fmla="*/ 267581 w 346288"/>
                <a:gd name="connsiteY132" fmla="*/ 202233 h 239788"/>
                <a:gd name="connsiteX133" fmla="*/ 268031 w 346288"/>
                <a:gd name="connsiteY133" fmla="*/ 200102 h 239788"/>
                <a:gd name="connsiteX134" fmla="*/ 268366 w 346288"/>
                <a:gd name="connsiteY134" fmla="*/ 198882 h 239788"/>
                <a:gd name="connsiteX135" fmla="*/ 269363 w 346288"/>
                <a:gd name="connsiteY135" fmla="*/ 193680 h 239788"/>
                <a:gd name="connsiteX136" fmla="*/ 284793 w 346288"/>
                <a:gd name="connsiteY136" fmla="*/ 182375 h 239788"/>
                <a:gd name="connsiteX137" fmla="*/ 285765 w 346288"/>
                <a:gd name="connsiteY137" fmla="*/ 163508 h 239788"/>
                <a:gd name="connsiteX138" fmla="*/ 282838 w 346288"/>
                <a:gd name="connsiteY138" fmla="*/ 158245 h 239788"/>
                <a:gd name="connsiteX139" fmla="*/ 304729 w 346288"/>
                <a:gd name="connsiteY139" fmla="*/ 148762 h 239788"/>
                <a:gd name="connsiteX140" fmla="*/ 304841 w 346288"/>
                <a:gd name="connsiteY140" fmla="*/ 148697 h 239788"/>
                <a:gd name="connsiteX141" fmla="*/ 304942 w 346288"/>
                <a:gd name="connsiteY141" fmla="*/ 148661 h 239788"/>
                <a:gd name="connsiteX142" fmla="*/ 343249 w 346288"/>
                <a:gd name="connsiteY142" fmla="*/ 130053 h 239788"/>
                <a:gd name="connsiteX143" fmla="*/ 345744 w 346288"/>
                <a:gd name="connsiteY143" fmla="*/ 122828 h 239788"/>
                <a:gd name="connsiteX144" fmla="*/ 92347 w 346288"/>
                <a:gd name="connsiteY144" fmla="*/ 189701 h 239788"/>
                <a:gd name="connsiteX145" fmla="*/ 88589 w 346288"/>
                <a:gd name="connsiteY145" fmla="*/ 175323 h 239788"/>
                <a:gd name="connsiteX146" fmla="*/ 106063 w 346288"/>
                <a:gd name="connsiteY146" fmla="*/ 145742 h 239788"/>
                <a:gd name="connsiteX147" fmla="*/ 115128 w 346288"/>
                <a:gd name="connsiteY147" fmla="*/ 140608 h 239788"/>
                <a:gd name="connsiteX148" fmla="*/ 120485 w 346288"/>
                <a:gd name="connsiteY148" fmla="*/ 142066 h 239788"/>
                <a:gd name="connsiteX149" fmla="*/ 124189 w 346288"/>
                <a:gd name="connsiteY149" fmla="*/ 156430 h 239788"/>
                <a:gd name="connsiteX150" fmla="*/ 106722 w 346288"/>
                <a:gd name="connsiteY150" fmla="*/ 186015 h 239788"/>
                <a:gd name="connsiteX151" fmla="*/ 92347 w 346288"/>
                <a:gd name="connsiteY151" fmla="*/ 189701 h 239788"/>
                <a:gd name="connsiteX152" fmla="*/ 129863 w 346288"/>
                <a:gd name="connsiteY152" fmla="*/ 218440 h 239788"/>
                <a:gd name="connsiteX153" fmla="*/ 118847 w 346288"/>
                <a:gd name="connsiteY153" fmla="*/ 217022 h 239788"/>
                <a:gd name="connsiteX154" fmla="*/ 113944 w 346288"/>
                <a:gd name="connsiteY154" fmla="*/ 196549 h 239788"/>
                <a:gd name="connsiteX155" fmla="*/ 136566 w 346288"/>
                <a:gd name="connsiteY155" fmla="*/ 158295 h 239788"/>
                <a:gd name="connsiteX156" fmla="*/ 149584 w 346288"/>
                <a:gd name="connsiteY156" fmla="*/ 150760 h 239788"/>
                <a:gd name="connsiteX157" fmla="*/ 156820 w 346288"/>
                <a:gd name="connsiteY157" fmla="*/ 152719 h 239788"/>
                <a:gd name="connsiteX158" fmla="*/ 161626 w 346288"/>
                <a:gd name="connsiteY158" fmla="*/ 173127 h 239788"/>
                <a:gd name="connsiteX159" fmla="*/ 139018 w 346288"/>
                <a:gd name="connsiteY159" fmla="*/ 211377 h 239788"/>
                <a:gd name="connsiteX160" fmla="*/ 129863 w 346288"/>
                <a:gd name="connsiteY160" fmla="*/ 218440 h 239788"/>
                <a:gd name="connsiteX161" fmla="*/ 169539 w 346288"/>
                <a:gd name="connsiteY161" fmla="*/ 223847 h 239788"/>
                <a:gd name="connsiteX162" fmla="*/ 155164 w 346288"/>
                <a:gd name="connsiteY162" fmla="*/ 227530 h 239788"/>
                <a:gd name="connsiteX163" fmla="*/ 151413 w 346288"/>
                <a:gd name="connsiteY163" fmla="*/ 213138 h 239788"/>
                <a:gd name="connsiteX164" fmla="*/ 168873 w 346288"/>
                <a:gd name="connsiteY164" fmla="*/ 183556 h 239788"/>
                <a:gd name="connsiteX165" fmla="*/ 177930 w 346288"/>
                <a:gd name="connsiteY165" fmla="*/ 178430 h 239788"/>
                <a:gd name="connsiteX166" fmla="*/ 183309 w 346288"/>
                <a:gd name="connsiteY166" fmla="*/ 179902 h 239788"/>
                <a:gd name="connsiteX167" fmla="*/ 186988 w 346288"/>
                <a:gd name="connsiteY167" fmla="*/ 194248 h 239788"/>
                <a:gd name="connsiteX168" fmla="*/ 179662 w 346288"/>
                <a:gd name="connsiteY168" fmla="*/ 206683 h 239788"/>
                <a:gd name="connsiteX169" fmla="*/ 176073 w 346288"/>
                <a:gd name="connsiteY169" fmla="*/ 209592 h 239788"/>
                <a:gd name="connsiteX170" fmla="*/ 175767 w 346288"/>
                <a:gd name="connsiteY170" fmla="*/ 213296 h 239788"/>
                <a:gd name="connsiteX171" fmla="*/ 169539 w 346288"/>
                <a:gd name="connsiteY171" fmla="*/ 223847 h 23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346288" h="239788">
                  <a:moveTo>
                    <a:pt x="345744" y="122828"/>
                  </a:moveTo>
                  <a:cubicBezTo>
                    <a:pt x="344437" y="120142"/>
                    <a:pt x="341205" y="119030"/>
                    <a:pt x="338530" y="120329"/>
                  </a:cubicBezTo>
                  <a:lnTo>
                    <a:pt x="300330" y="138887"/>
                  </a:lnTo>
                  <a:lnTo>
                    <a:pt x="274299" y="150163"/>
                  </a:lnTo>
                  <a:cubicBezTo>
                    <a:pt x="270281" y="149126"/>
                    <a:pt x="260017" y="146437"/>
                    <a:pt x="250798" y="143704"/>
                  </a:cubicBezTo>
                  <a:lnTo>
                    <a:pt x="246276" y="142020"/>
                  </a:lnTo>
                  <a:cubicBezTo>
                    <a:pt x="245614" y="141775"/>
                    <a:pt x="244933" y="141674"/>
                    <a:pt x="244267" y="141692"/>
                  </a:cubicBezTo>
                  <a:cubicBezTo>
                    <a:pt x="241071" y="140659"/>
                    <a:pt x="238291" y="139679"/>
                    <a:pt x="236419" y="138855"/>
                  </a:cubicBezTo>
                  <a:cubicBezTo>
                    <a:pt x="227441" y="134902"/>
                    <a:pt x="211399" y="125611"/>
                    <a:pt x="204934" y="120002"/>
                  </a:cubicBezTo>
                  <a:cubicBezTo>
                    <a:pt x="197629" y="113687"/>
                    <a:pt x="178600" y="90251"/>
                    <a:pt x="178409" y="90014"/>
                  </a:cubicBezTo>
                  <a:cubicBezTo>
                    <a:pt x="176793" y="88019"/>
                    <a:pt x="173995" y="87440"/>
                    <a:pt x="171720" y="88624"/>
                  </a:cubicBezTo>
                  <a:cubicBezTo>
                    <a:pt x="166486" y="91349"/>
                    <a:pt x="149508" y="98539"/>
                    <a:pt x="140519" y="95925"/>
                  </a:cubicBezTo>
                  <a:cubicBezTo>
                    <a:pt x="135774" y="94514"/>
                    <a:pt x="126994" y="89697"/>
                    <a:pt x="124510" y="86698"/>
                  </a:cubicBezTo>
                  <a:cubicBezTo>
                    <a:pt x="122854" y="84704"/>
                    <a:pt x="121443" y="77515"/>
                    <a:pt x="122188" y="75218"/>
                  </a:cubicBezTo>
                  <a:cubicBezTo>
                    <a:pt x="124128" y="74235"/>
                    <a:pt x="131487" y="75481"/>
                    <a:pt x="135090" y="76089"/>
                  </a:cubicBezTo>
                  <a:cubicBezTo>
                    <a:pt x="141257" y="77133"/>
                    <a:pt x="147089" y="78119"/>
                    <a:pt x="151593" y="76661"/>
                  </a:cubicBezTo>
                  <a:cubicBezTo>
                    <a:pt x="160362" y="73828"/>
                    <a:pt x="178045" y="58719"/>
                    <a:pt x="182308" y="55004"/>
                  </a:cubicBezTo>
                  <a:cubicBezTo>
                    <a:pt x="186538" y="53459"/>
                    <a:pt x="207407" y="46425"/>
                    <a:pt x="221962" y="52214"/>
                  </a:cubicBezTo>
                  <a:cubicBezTo>
                    <a:pt x="229641" y="55270"/>
                    <a:pt x="237107" y="56325"/>
                    <a:pt x="243767" y="56325"/>
                  </a:cubicBezTo>
                  <a:cubicBezTo>
                    <a:pt x="258171" y="56325"/>
                    <a:pt x="268794" y="51375"/>
                    <a:pt x="269583" y="50997"/>
                  </a:cubicBezTo>
                  <a:lnTo>
                    <a:pt x="322632" y="22647"/>
                  </a:lnTo>
                  <a:cubicBezTo>
                    <a:pt x="325260" y="21239"/>
                    <a:pt x="326254" y="17971"/>
                    <a:pt x="324850" y="15339"/>
                  </a:cubicBezTo>
                  <a:cubicBezTo>
                    <a:pt x="323442" y="12711"/>
                    <a:pt x="320173" y="11714"/>
                    <a:pt x="317542" y="13121"/>
                  </a:cubicBezTo>
                  <a:lnTo>
                    <a:pt x="264730" y="41349"/>
                  </a:lnTo>
                  <a:cubicBezTo>
                    <a:pt x="264546" y="41435"/>
                    <a:pt x="245761" y="50054"/>
                    <a:pt x="225954" y="42177"/>
                  </a:cubicBezTo>
                  <a:cubicBezTo>
                    <a:pt x="208703" y="35308"/>
                    <a:pt x="186322" y="42137"/>
                    <a:pt x="179536" y="44521"/>
                  </a:cubicBezTo>
                  <a:cubicBezTo>
                    <a:pt x="172008" y="41666"/>
                    <a:pt x="150847" y="34095"/>
                    <a:pt x="141444" y="35521"/>
                  </a:cubicBezTo>
                  <a:cubicBezTo>
                    <a:pt x="132667" y="36867"/>
                    <a:pt x="107107" y="38073"/>
                    <a:pt x="96754" y="36161"/>
                  </a:cubicBezTo>
                  <a:cubicBezTo>
                    <a:pt x="92383" y="34927"/>
                    <a:pt x="59184" y="16963"/>
                    <a:pt x="30172" y="691"/>
                  </a:cubicBezTo>
                  <a:cubicBezTo>
                    <a:pt x="27565" y="-767"/>
                    <a:pt x="24279" y="158"/>
                    <a:pt x="22821" y="2761"/>
                  </a:cubicBezTo>
                  <a:cubicBezTo>
                    <a:pt x="21363" y="5360"/>
                    <a:pt x="22288" y="8654"/>
                    <a:pt x="24887" y="10112"/>
                  </a:cubicBezTo>
                  <a:cubicBezTo>
                    <a:pt x="43863" y="20757"/>
                    <a:pt x="88647" y="45629"/>
                    <a:pt x="94608" y="46742"/>
                  </a:cubicBezTo>
                  <a:cubicBezTo>
                    <a:pt x="107273" y="49089"/>
                    <a:pt x="134489" y="47512"/>
                    <a:pt x="143068" y="46198"/>
                  </a:cubicBezTo>
                  <a:cubicBezTo>
                    <a:pt x="147309" y="45554"/>
                    <a:pt x="158829" y="48725"/>
                    <a:pt x="168912" y="52174"/>
                  </a:cubicBezTo>
                  <a:cubicBezTo>
                    <a:pt x="161374" y="58341"/>
                    <a:pt x="152374" y="65055"/>
                    <a:pt x="148270" y="66380"/>
                  </a:cubicBezTo>
                  <a:cubicBezTo>
                    <a:pt x="146275" y="67024"/>
                    <a:pt x="141073" y="66142"/>
                    <a:pt x="136890" y="65433"/>
                  </a:cubicBezTo>
                  <a:cubicBezTo>
                    <a:pt x="128333" y="63986"/>
                    <a:pt x="119488" y="62488"/>
                    <a:pt x="114304" y="67748"/>
                  </a:cubicBezTo>
                  <a:cubicBezTo>
                    <a:pt x="108519" y="73677"/>
                    <a:pt x="111985" y="88523"/>
                    <a:pt x="116190" y="93585"/>
                  </a:cubicBezTo>
                  <a:cubicBezTo>
                    <a:pt x="120528" y="98823"/>
                    <a:pt x="131490" y="104507"/>
                    <a:pt x="137470" y="106282"/>
                  </a:cubicBezTo>
                  <a:cubicBezTo>
                    <a:pt x="149105" y="109663"/>
                    <a:pt x="165193" y="103514"/>
                    <a:pt x="172721" y="100112"/>
                  </a:cubicBezTo>
                  <a:cubicBezTo>
                    <a:pt x="178416" y="107020"/>
                    <a:pt x="191549" y="122702"/>
                    <a:pt x="197856" y="128156"/>
                  </a:cubicBezTo>
                  <a:cubicBezTo>
                    <a:pt x="205726" y="134985"/>
                    <a:pt x="223369" y="144903"/>
                    <a:pt x="232060" y="148730"/>
                  </a:cubicBezTo>
                  <a:cubicBezTo>
                    <a:pt x="235444" y="150220"/>
                    <a:pt x="241164" y="152085"/>
                    <a:pt x="247277" y="153910"/>
                  </a:cubicBezTo>
                  <a:lnTo>
                    <a:pt x="272603" y="163346"/>
                  </a:lnTo>
                  <a:cubicBezTo>
                    <a:pt x="273928" y="164030"/>
                    <a:pt x="274932" y="165304"/>
                    <a:pt x="275591" y="167140"/>
                  </a:cubicBezTo>
                  <a:cubicBezTo>
                    <a:pt x="276736" y="170334"/>
                    <a:pt x="276505" y="174596"/>
                    <a:pt x="275026" y="177735"/>
                  </a:cubicBezTo>
                  <a:cubicBezTo>
                    <a:pt x="273219" y="181537"/>
                    <a:pt x="269165" y="183517"/>
                    <a:pt x="265324" y="182962"/>
                  </a:cubicBezTo>
                  <a:cubicBezTo>
                    <a:pt x="264564" y="182523"/>
                    <a:pt x="263711" y="182278"/>
                    <a:pt x="262829" y="182242"/>
                  </a:cubicBezTo>
                  <a:lnTo>
                    <a:pt x="228492" y="164429"/>
                  </a:lnTo>
                  <a:cubicBezTo>
                    <a:pt x="225846" y="163054"/>
                    <a:pt x="222585" y="164091"/>
                    <a:pt x="221213" y="166737"/>
                  </a:cubicBezTo>
                  <a:cubicBezTo>
                    <a:pt x="219841" y="169383"/>
                    <a:pt x="220871" y="172645"/>
                    <a:pt x="223521" y="174016"/>
                  </a:cubicBezTo>
                  <a:lnTo>
                    <a:pt x="258102" y="191951"/>
                  </a:lnTo>
                  <a:cubicBezTo>
                    <a:pt x="258207" y="192002"/>
                    <a:pt x="258315" y="192031"/>
                    <a:pt x="258419" y="192081"/>
                  </a:cubicBezTo>
                  <a:cubicBezTo>
                    <a:pt x="258682" y="193449"/>
                    <a:pt x="258437" y="194399"/>
                    <a:pt x="258048" y="195652"/>
                  </a:cubicBezTo>
                  <a:cubicBezTo>
                    <a:pt x="257785" y="196495"/>
                    <a:pt x="257479" y="197481"/>
                    <a:pt x="257325" y="198622"/>
                  </a:cubicBezTo>
                  <a:cubicBezTo>
                    <a:pt x="255057" y="202813"/>
                    <a:pt x="249923" y="204667"/>
                    <a:pt x="245520" y="202773"/>
                  </a:cubicBezTo>
                  <a:lnTo>
                    <a:pt x="216537" y="190177"/>
                  </a:lnTo>
                  <a:cubicBezTo>
                    <a:pt x="216407" y="190119"/>
                    <a:pt x="216274" y="190097"/>
                    <a:pt x="216141" y="190051"/>
                  </a:cubicBezTo>
                  <a:cubicBezTo>
                    <a:pt x="215968" y="189990"/>
                    <a:pt x="215795" y="189925"/>
                    <a:pt x="215622" y="189885"/>
                  </a:cubicBezTo>
                  <a:cubicBezTo>
                    <a:pt x="215446" y="189842"/>
                    <a:pt x="215266" y="189820"/>
                    <a:pt x="215089" y="189799"/>
                  </a:cubicBezTo>
                  <a:cubicBezTo>
                    <a:pt x="214917" y="189777"/>
                    <a:pt x="214747" y="189748"/>
                    <a:pt x="214578" y="189741"/>
                  </a:cubicBezTo>
                  <a:cubicBezTo>
                    <a:pt x="214395" y="189734"/>
                    <a:pt x="214215" y="189748"/>
                    <a:pt x="214035" y="189763"/>
                  </a:cubicBezTo>
                  <a:cubicBezTo>
                    <a:pt x="213869" y="189773"/>
                    <a:pt x="213703" y="189777"/>
                    <a:pt x="213541" y="189806"/>
                  </a:cubicBezTo>
                  <a:cubicBezTo>
                    <a:pt x="213361" y="189835"/>
                    <a:pt x="213189" y="189882"/>
                    <a:pt x="213016" y="189928"/>
                  </a:cubicBezTo>
                  <a:cubicBezTo>
                    <a:pt x="212857" y="189971"/>
                    <a:pt x="212695" y="190007"/>
                    <a:pt x="212541" y="190065"/>
                  </a:cubicBezTo>
                  <a:cubicBezTo>
                    <a:pt x="212375" y="190126"/>
                    <a:pt x="212220" y="190205"/>
                    <a:pt x="212062" y="190281"/>
                  </a:cubicBezTo>
                  <a:cubicBezTo>
                    <a:pt x="211907" y="190357"/>
                    <a:pt x="211752" y="190425"/>
                    <a:pt x="211605" y="190515"/>
                  </a:cubicBezTo>
                  <a:cubicBezTo>
                    <a:pt x="211457" y="190601"/>
                    <a:pt x="211324" y="190709"/>
                    <a:pt x="211187" y="190810"/>
                  </a:cubicBezTo>
                  <a:cubicBezTo>
                    <a:pt x="211043" y="190915"/>
                    <a:pt x="210903" y="191019"/>
                    <a:pt x="210769" y="191138"/>
                  </a:cubicBezTo>
                  <a:cubicBezTo>
                    <a:pt x="210643" y="191253"/>
                    <a:pt x="210532" y="191383"/>
                    <a:pt x="210417" y="191509"/>
                  </a:cubicBezTo>
                  <a:cubicBezTo>
                    <a:pt x="210294" y="191645"/>
                    <a:pt x="210168" y="191775"/>
                    <a:pt x="210060" y="191923"/>
                  </a:cubicBezTo>
                  <a:cubicBezTo>
                    <a:pt x="209956" y="192063"/>
                    <a:pt x="209873" y="192218"/>
                    <a:pt x="209779" y="192369"/>
                  </a:cubicBezTo>
                  <a:cubicBezTo>
                    <a:pt x="209704" y="192495"/>
                    <a:pt x="209617" y="192603"/>
                    <a:pt x="209553" y="192736"/>
                  </a:cubicBezTo>
                  <a:cubicBezTo>
                    <a:pt x="209531" y="192780"/>
                    <a:pt x="209524" y="192826"/>
                    <a:pt x="209502" y="192869"/>
                  </a:cubicBezTo>
                  <a:cubicBezTo>
                    <a:pt x="209484" y="192909"/>
                    <a:pt x="209455" y="192942"/>
                    <a:pt x="209441" y="192981"/>
                  </a:cubicBezTo>
                  <a:cubicBezTo>
                    <a:pt x="209387" y="193103"/>
                    <a:pt x="209365" y="193226"/>
                    <a:pt x="209322" y="193352"/>
                  </a:cubicBezTo>
                  <a:cubicBezTo>
                    <a:pt x="209257" y="193536"/>
                    <a:pt x="209189" y="193719"/>
                    <a:pt x="209146" y="193903"/>
                  </a:cubicBezTo>
                  <a:cubicBezTo>
                    <a:pt x="209106" y="194068"/>
                    <a:pt x="209088" y="194238"/>
                    <a:pt x="209067" y="194407"/>
                  </a:cubicBezTo>
                  <a:cubicBezTo>
                    <a:pt x="209041" y="194587"/>
                    <a:pt x="209013" y="194767"/>
                    <a:pt x="209009" y="194947"/>
                  </a:cubicBezTo>
                  <a:cubicBezTo>
                    <a:pt x="209002" y="195119"/>
                    <a:pt x="209016" y="195292"/>
                    <a:pt x="209027" y="195465"/>
                  </a:cubicBezTo>
                  <a:cubicBezTo>
                    <a:pt x="209038" y="195638"/>
                    <a:pt x="209045" y="195811"/>
                    <a:pt x="209070" y="195984"/>
                  </a:cubicBezTo>
                  <a:cubicBezTo>
                    <a:pt x="209099" y="196156"/>
                    <a:pt x="209146" y="196325"/>
                    <a:pt x="209189" y="196495"/>
                  </a:cubicBezTo>
                  <a:cubicBezTo>
                    <a:pt x="209232" y="196660"/>
                    <a:pt x="209272" y="196822"/>
                    <a:pt x="209329" y="196984"/>
                  </a:cubicBezTo>
                  <a:cubicBezTo>
                    <a:pt x="209391" y="197146"/>
                    <a:pt x="209466" y="197305"/>
                    <a:pt x="209542" y="197459"/>
                  </a:cubicBezTo>
                  <a:cubicBezTo>
                    <a:pt x="209614" y="197614"/>
                    <a:pt x="209686" y="197769"/>
                    <a:pt x="209772" y="197913"/>
                  </a:cubicBezTo>
                  <a:cubicBezTo>
                    <a:pt x="209862" y="198064"/>
                    <a:pt x="209970" y="198205"/>
                    <a:pt x="210075" y="198345"/>
                  </a:cubicBezTo>
                  <a:cubicBezTo>
                    <a:pt x="210175" y="198486"/>
                    <a:pt x="210276" y="198622"/>
                    <a:pt x="210391" y="198752"/>
                  </a:cubicBezTo>
                  <a:cubicBezTo>
                    <a:pt x="210510" y="198885"/>
                    <a:pt x="210647" y="199000"/>
                    <a:pt x="210784" y="199123"/>
                  </a:cubicBezTo>
                  <a:cubicBezTo>
                    <a:pt x="210913" y="199238"/>
                    <a:pt x="211036" y="199357"/>
                    <a:pt x="211176" y="199461"/>
                  </a:cubicBezTo>
                  <a:cubicBezTo>
                    <a:pt x="211324" y="199569"/>
                    <a:pt x="211486" y="199663"/>
                    <a:pt x="211648" y="199756"/>
                  </a:cubicBezTo>
                  <a:cubicBezTo>
                    <a:pt x="211763" y="199828"/>
                    <a:pt x="211867" y="199911"/>
                    <a:pt x="211990" y="199972"/>
                  </a:cubicBezTo>
                  <a:lnTo>
                    <a:pt x="219715" y="203799"/>
                  </a:lnTo>
                  <a:cubicBezTo>
                    <a:pt x="224298" y="205977"/>
                    <a:pt x="226264" y="211478"/>
                    <a:pt x="224093" y="216068"/>
                  </a:cubicBezTo>
                  <a:cubicBezTo>
                    <a:pt x="223027" y="218321"/>
                    <a:pt x="221152" y="220024"/>
                    <a:pt x="218812" y="220859"/>
                  </a:cubicBezTo>
                  <a:cubicBezTo>
                    <a:pt x="216504" y="221684"/>
                    <a:pt x="214024" y="221558"/>
                    <a:pt x="211813" y="220507"/>
                  </a:cubicBezTo>
                  <a:lnTo>
                    <a:pt x="190087" y="210243"/>
                  </a:lnTo>
                  <a:lnTo>
                    <a:pt x="196279" y="199738"/>
                  </a:lnTo>
                  <a:cubicBezTo>
                    <a:pt x="202241" y="189662"/>
                    <a:pt x="198886" y="176594"/>
                    <a:pt x="188806" y="170611"/>
                  </a:cubicBezTo>
                  <a:cubicBezTo>
                    <a:pt x="188802" y="170611"/>
                    <a:pt x="188799" y="170607"/>
                    <a:pt x="188799" y="170607"/>
                  </a:cubicBezTo>
                  <a:cubicBezTo>
                    <a:pt x="184299" y="167950"/>
                    <a:pt x="179212" y="167140"/>
                    <a:pt x="174424" y="167936"/>
                  </a:cubicBezTo>
                  <a:cubicBezTo>
                    <a:pt x="175407" y="158313"/>
                    <a:pt x="171018" y="148600"/>
                    <a:pt x="162331" y="143434"/>
                  </a:cubicBezTo>
                  <a:cubicBezTo>
                    <a:pt x="162324" y="143427"/>
                    <a:pt x="162313" y="143423"/>
                    <a:pt x="162303" y="143416"/>
                  </a:cubicBezTo>
                  <a:cubicBezTo>
                    <a:pt x="153673" y="138347"/>
                    <a:pt x="143212" y="139068"/>
                    <a:pt x="135295" y="144338"/>
                  </a:cubicBezTo>
                  <a:cubicBezTo>
                    <a:pt x="133722" y="139658"/>
                    <a:pt x="130551" y="135489"/>
                    <a:pt x="125975" y="132771"/>
                  </a:cubicBezTo>
                  <a:cubicBezTo>
                    <a:pt x="115819" y="126809"/>
                    <a:pt x="102715" y="130168"/>
                    <a:pt x="96765" y="140252"/>
                  </a:cubicBezTo>
                  <a:lnTo>
                    <a:pt x="82285" y="164757"/>
                  </a:lnTo>
                  <a:lnTo>
                    <a:pt x="46847" y="139406"/>
                  </a:lnTo>
                  <a:cubicBezTo>
                    <a:pt x="46721" y="139316"/>
                    <a:pt x="46581" y="139255"/>
                    <a:pt x="46447" y="139179"/>
                  </a:cubicBezTo>
                  <a:cubicBezTo>
                    <a:pt x="46318" y="139103"/>
                    <a:pt x="46203" y="139010"/>
                    <a:pt x="46066" y="138945"/>
                  </a:cubicBezTo>
                  <a:lnTo>
                    <a:pt x="7758" y="120340"/>
                  </a:lnTo>
                  <a:cubicBezTo>
                    <a:pt x="5080" y="119041"/>
                    <a:pt x="1843" y="120153"/>
                    <a:pt x="544" y="122839"/>
                  </a:cubicBezTo>
                  <a:cubicBezTo>
                    <a:pt x="-759" y="125521"/>
                    <a:pt x="360" y="128753"/>
                    <a:pt x="3042" y="130057"/>
                  </a:cubicBezTo>
                  <a:lnTo>
                    <a:pt x="40939" y="148467"/>
                  </a:lnTo>
                  <a:lnTo>
                    <a:pt x="77285" y="174470"/>
                  </a:lnTo>
                  <a:cubicBezTo>
                    <a:pt x="74502" y="183653"/>
                    <a:pt x="78221" y="193921"/>
                    <a:pt x="86865" y="199018"/>
                  </a:cubicBezTo>
                  <a:cubicBezTo>
                    <a:pt x="90259" y="201016"/>
                    <a:pt x="93985" y="201967"/>
                    <a:pt x="97665" y="201967"/>
                  </a:cubicBezTo>
                  <a:cubicBezTo>
                    <a:pt x="98849" y="201967"/>
                    <a:pt x="100023" y="201834"/>
                    <a:pt x="101185" y="201639"/>
                  </a:cubicBezTo>
                  <a:cubicBezTo>
                    <a:pt x="100163" y="211345"/>
                    <a:pt x="104591" y="221144"/>
                    <a:pt x="113364" y="226335"/>
                  </a:cubicBezTo>
                  <a:cubicBezTo>
                    <a:pt x="117241" y="228617"/>
                    <a:pt x="121565" y="229784"/>
                    <a:pt x="125971" y="229784"/>
                  </a:cubicBezTo>
                  <a:cubicBezTo>
                    <a:pt x="128214" y="229784"/>
                    <a:pt x="130479" y="229482"/>
                    <a:pt x="132714" y="228869"/>
                  </a:cubicBezTo>
                  <a:cubicBezTo>
                    <a:pt x="135465" y="228117"/>
                    <a:pt x="138024" y="226911"/>
                    <a:pt x="140339" y="225352"/>
                  </a:cubicBezTo>
                  <a:cubicBezTo>
                    <a:pt x="141930" y="230003"/>
                    <a:pt x="145113" y="234140"/>
                    <a:pt x="149674" y="236844"/>
                  </a:cubicBezTo>
                  <a:cubicBezTo>
                    <a:pt x="153061" y="238838"/>
                    <a:pt x="156784" y="239788"/>
                    <a:pt x="160459" y="239788"/>
                  </a:cubicBezTo>
                  <a:cubicBezTo>
                    <a:pt x="167746" y="239788"/>
                    <a:pt x="174859" y="236059"/>
                    <a:pt x="178837" y="229355"/>
                  </a:cubicBezTo>
                  <a:lnTo>
                    <a:pt x="184587" y="219596"/>
                  </a:lnTo>
                  <a:lnTo>
                    <a:pt x="207191" y="230277"/>
                  </a:lnTo>
                  <a:cubicBezTo>
                    <a:pt x="209902" y="231566"/>
                    <a:pt x="212807" y="232217"/>
                    <a:pt x="215723" y="232217"/>
                  </a:cubicBezTo>
                  <a:cubicBezTo>
                    <a:pt x="217984" y="232217"/>
                    <a:pt x="220252" y="231829"/>
                    <a:pt x="222448" y="231044"/>
                  </a:cubicBezTo>
                  <a:cubicBezTo>
                    <a:pt x="227509" y="229240"/>
                    <a:pt x="231567" y="225565"/>
                    <a:pt x="233863" y="220694"/>
                  </a:cubicBezTo>
                  <a:cubicBezTo>
                    <a:pt x="235455" y="217328"/>
                    <a:pt x="235998" y="213742"/>
                    <a:pt x="235674" y="210283"/>
                  </a:cubicBezTo>
                  <a:lnTo>
                    <a:pt x="241240" y="212702"/>
                  </a:lnTo>
                  <a:cubicBezTo>
                    <a:pt x="243799" y="213807"/>
                    <a:pt x="246474" y="214325"/>
                    <a:pt x="249106" y="214325"/>
                  </a:cubicBezTo>
                  <a:cubicBezTo>
                    <a:pt x="256867" y="214325"/>
                    <a:pt x="264287" y="209793"/>
                    <a:pt x="267581" y="202233"/>
                  </a:cubicBezTo>
                  <a:cubicBezTo>
                    <a:pt x="267880" y="201553"/>
                    <a:pt x="268031" y="200844"/>
                    <a:pt x="268031" y="200102"/>
                  </a:cubicBezTo>
                  <a:cubicBezTo>
                    <a:pt x="268045" y="199904"/>
                    <a:pt x="268233" y="199313"/>
                    <a:pt x="268366" y="198882"/>
                  </a:cubicBezTo>
                  <a:cubicBezTo>
                    <a:pt x="268762" y="197603"/>
                    <a:pt x="269295" y="195894"/>
                    <a:pt x="269363" y="193680"/>
                  </a:cubicBezTo>
                  <a:cubicBezTo>
                    <a:pt x="275843" y="192776"/>
                    <a:pt x="281776" y="188730"/>
                    <a:pt x="284793" y="182375"/>
                  </a:cubicBezTo>
                  <a:cubicBezTo>
                    <a:pt x="287507" y="176630"/>
                    <a:pt x="287878" y="169401"/>
                    <a:pt x="285765" y="163508"/>
                  </a:cubicBezTo>
                  <a:cubicBezTo>
                    <a:pt x="285045" y="161506"/>
                    <a:pt x="284033" y="159775"/>
                    <a:pt x="282838" y="158245"/>
                  </a:cubicBezTo>
                  <a:lnTo>
                    <a:pt x="304729" y="148762"/>
                  </a:lnTo>
                  <a:cubicBezTo>
                    <a:pt x="304769" y="148744"/>
                    <a:pt x="304801" y="148719"/>
                    <a:pt x="304841" y="148697"/>
                  </a:cubicBezTo>
                  <a:cubicBezTo>
                    <a:pt x="304873" y="148683"/>
                    <a:pt x="304909" y="148679"/>
                    <a:pt x="304942" y="148661"/>
                  </a:cubicBezTo>
                  <a:lnTo>
                    <a:pt x="343249" y="130053"/>
                  </a:lnTo>
                  <a:cubicBezTo>
                    <a:pt x="345928" y="128739"/>
                    <a:pt x="347047" y="125510"/>
                    <a:pt x="345744" y="122828"/>
                  </a:cubicBezTo>
                  <a:close/>
                  <a:moveTo>
                    <a:pt x="92347" y="189701"/>
                  </a:moveTo>
                  <a:cubicBezTo>
                    <a:pt x="87343" y="186753"/>
                    <a:pt x="85659" y="180298"/>
                    <a:pt x="88589" y="175323"/>
                  </a:cubicBezTo>
                  <a:lnTo>
                    <a:pt x="106063" y="145742"/>
                  </a:lnTo>
                  <a:cubicBezTo>
                    <a:pt x="108015" y="142441"/>
                    <a:pt x="111525" y="140608"/>
                    <a:pt x="115128" y="140608"/>
                  </a:cubicBezTo>
                  <a:cubicBezTo>
                    <a:pt x="116953" y="140608"/>
                    <a:pt x="118804" y="141080"/>
                    <a:pt x="120485" y="142066"/>
                  </a:cubicBezTo>
                  <a:cubicBezTo>
                    <a:pt x="125457" y="145022"/>
                    <a:pt x="127120" y="151466"/>
                    <a:pt x="124189" y="156430"/>
                  </a:cubicBezTo>
                  <a:lnTo>
                    <a:pt x="106722" y="186015"/>
                  </a:lnTo>
                  <a:cubicBezTo>
                    <a:pt x="103785" y="190990"/>
                    <a:pt x="97330" y="192639"/>
                    <a:pt x="92347" y="189701"/>
                  </a:cubicBezTo>
                  <a:close/>
                  <a:moveTo>
                    <a:pt x="129863" y="218440"/>
                  </a:moveTo>
                  <a:cubicBezTo>
                    <a:pt x="126065" y="219477"/>
                    <a:pt x="122155" y="218969"/>
                    <a:pt x="118847" y="217022"/>
                  </a:cubicBezTo>
                  <a:cubicBezTo>
                    <a:pt x="111924" y="212925"/>
                    <a:pt x="109728" y="203738"/>
                    <a:pt x="113944" y="196549"/>
                  </a:cubicBezTo>
                  <a:lnTo>
                    <a:pt x="136566" y="158295"/>
                  </a:lnTo>
                  <a:cubicBezTo>
                    <a:pt x="139403" y="153468"/>
                    <a:pt x="144454" y="150760"/>
                    <a:pt x="149584" y="150760"/>
                  </a:cubicBezTo>
                  <a:cubicBezTo>
                    <a:pt x="152061" y="150760"/>
                    <a:pt x="154552" y="151390"/>
                    <a:pt x="156820" y="152719"/>
                  </a:cubicBezTo>
                  <a:cubicBezTo>
                    <a:pt x="163699" y="156819"/>
                    <a:pt x="165856" y="165974"/>
                    <a:pt x="161626" y="173127"/>
                  </a:cubicBezTo>
                  <a:lnTo>
                    <a:pt x="139018" y="211377"/>
                  </a:lnTo>
                  <a:cubicBezTo>
                    <a:pt x="136959" y="214880"/>
                    <a:pt x="133708" y="217389"/>
                    <a:pt x="129863" y="218440"/>
                  </a:cubicBezTo>
                  <a:close/>
                  <a:moveTo>
                    <a:pt x="169539" y="223847"/>
                  </a:moveTo>
                  <a:cubicBezTo>
                    <a:pt x="166594" y="228812"/>
                    <a:pt x="160135" y="230461"/>
                    <a:pt x="155164" y="227530"/>
                  </a:cubicBezTo>
                  <a:cubicBezTo>
                    <a:pt x="150153" y="224564"/>
                    <a:pt x="148468" y="218109"/>
                    <a:pt x="151413" y="213138"/>
                  </a:cubicBezTo>
                  <a:lnTo>
                    <a:pt x="168873" y="183556"/>
                  </a:lnTo>
                  <a:cubicBezTo>
                    <a:pt x="170827" y="180259"/>
                    <a:pt x="174330" y="178430"/>
                    <a:pt x="177930" y="178430"/>
                  </a:cubicBezTo>
                  <a:cubicBezTo>
                    <a:pt x="179763" y="178430"/>
                    <a:pt x="181617" y="178905"/>
                    <a:pt x="183309" y="179902"/>
                  </a:cubicBezTo>
                  <a:cubicBezTo>
                    <a:pt x="188269" y="182854"/>
                    <a:pt x="189925" y="189284"/>
                    <a:pt x="186988" y="194248"/>
                  </a:cubicBezTo>
                  <a:lnTo>
                    <a:pt x="179662" y="206683"/>
                  </a:lnTo>
                  <a:cubicBezTo>
                    <a:pt x="178143" y="207057"/>
                    <a:pt x="176793" y="208065"/>
                    <a:pt x="176073" y="209592"/>
                  </a:cubicBezTo>
                  <a:cubicBezTo>
                    <a:pt x="175504" y="210797"/>
                    <a:pt x="175443" y="212101"/>
                    <a:pt x="175767" y="213296"/>
                  </a:cubicBezTo>
                  <a:lnTo>
                    <a:pt x="169539" y="223847"/>
                  </a:lnTo>
                  <a:close/>
                </a:path>
              </a:pathLst>
            </a:custGeom>
            <a:solidFill>
              <a:srgbClr val="231F2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7231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A552AC-63BA-844C-AE95-37DF4C0F8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3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A552AC-63BA-844C-AE95-37DF4C0F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D38F2F-D251-1745-A4A6-1A0B8E99FD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0C0B4FC-FEAB-E740-810F-E5385C9D4D17}"/>
              </a:ext>
            </a:extLst>
          </p:cNvPr>
          <p:cNvSpPr/>
          <p:nvPr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197E55A-6050-B148-B4D4-B0991D7972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8515" y="1742133"/>
            <a:ext cx="5277485" cy="3877985"/>
          </a:xfrm>
        </p:spPr>
        <p:txBody>
          <a:bodyPr>
            <a:noAutofit/>
          </a:bodyPr>
          <a:lstStyle/>
          <a:p>
            <a:r>
              <a:rPr lang="ru-RU" dirty="0" smtClean="0"/>
              <a:t>03</a:t>
            </a:r>
            <a:endParaRPr lang="ru-RU" dirty="0"/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429000"/>
            <a:ext cx="10717812" cy="1241037"/>
          </a:xfrm>
        </p:spPr>
        <p:txBody>
          <a:bodyPr vert="horz">
            <a:normAutofit fontScale="90000"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конструкция здания и строительство новых мастерских филиала колледжа им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.И.Ползунов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.Кировград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570A93F-90D4-2540-967F-CC35A3E0F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CD28CAB-7A4F-A349-B218-369ED001DD5B}"/>
              </a:ext>
            </a:extLst>
          </p:cNvPr>
          <p:cNvGrpSpPr/>
          <p:nvPr/>
        </p:nvGrpSpPr>
        <p:grpSpPr>
          <a:xfrm>
            <a:off x="229706" y="3895218"/>
            <a:ext cx="361110" cy="371578"/>
            <a:chOff x="383279" y="3833472"/>
            <a:chExt cx="361110" cy="371578"/>
          </a:xfrm>
          <a:solidFill>
            <a:schemeClr val="bg1"/>
          </a:solidFill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B8CCBC2-0160-8944-8E07-E7C729E0C800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3DAFE7B4-D1C7-204E-BE43-47827FE0405A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5098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627FA1A-2D30-1F4E-8815-95F49431EF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9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627FA1A-2D30-1F4E-8815-95F49431EF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9391" y="59246"/>
            <a:ext cx="11421092" cy="6357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353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028FFCF9-7C33-8745-BF12-312A75EB5B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7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028FFCF9-7C33-8745-BF12-312A75EB5B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DFBF84-38F6-E549-A85C-1ECABE1D60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249494" cy="664797"/>
          </a:xfrm>
        </p:spPr>
        <p:txBody>
          <a:bodyPr vert="horz"/>
          <a:lstStyle/>
          <a:p>
            <a:r>
              <a:rPr lang="ru-RU" dirty="0" smtClean="0"/>
              <a:t>Система работы по построению </a:t>
            </a:r>
            <a:r>
              <a:rPr lang="ru-RU" dirty="0" err="1" smtClean="0"/>
              <a:t>практикоориентированной</a:t>
            </a:r>
            <a:r>
              <a:rPr lang="ru-RU" dirty="0" smtClean="0"/>
              <a:t> подготовке </a:t>
            </a:r>
            <a:endParaRPr lang="ru-RU" dirty="0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F1FBAC33-995F-BC47-B55A-CAE93658BDF3}"/>
              </a:ext>
            </a:extLst>
          </p:cNvPr>
          <p:cNvGrpSpPr/>
          <p:nvPr/>
        </p:nvGrpSpPr>
        <p:grpSpPr>
          <a:xfrm>
            <a:off x="816355" y="1358900"/>
            <a:ext cx="5112652" cy="2232000"/>
            <a:chOff x="816355" y="1358900"/>
            <a:chExt cx="5112652" cy="2232000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58D116D5-363F-3444-933A-3AA221B7466B}"/>
                </a:ext>
              </a:extLst>
            </p:cNvPr>
            <p:cNvSpPr/>
            <p:nvPr/>
          </p:nvSpPr>
          <p:spPr>
            <a:xfrm>
              <a:off x="816355" y="1358900"/>
              <a:ext cx="5112652" cy="2232000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C6C20F3-7B42-FB4B-9576-6A788DD4A9F1}"/>
                </a:ext>
              </a:extLst>
            </p:cNvPr>
            <p:cNvSpPr txBox="1"/>
            <p:nvPr/>
          </p:nvSpPr>
          <p:spPr>
            <a:xfrm>
              <a:off x="2677755" y="2497827"/>
              <a:ext cx="2790000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defTabSz="685800">
                <a:spcBef>
                  <a:spcPct val="30000"/>
                </a:spcBef>
              </a:pPr>
              <a:endParaRPr lang="ru-RU" sz="1200" dirty="0"/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9A17347-5111-C84A-80B1-4078AD394E72}"/>
              </a:ext>
            </a:extLst>
          </p:cNvPr>
          <p:cNvGrpSpPr/>
          <p:nvPr/>
        </p:nvGrpSpPr>
        <p:grpSpPr>
          <a:xfrm>
            <a:off x="6277355" y="1358900"/>
            <a:ext cx="5112652" cy="2232000"/>
            <a:chOff x="6277355" y="1358900"/>
            <a:chExt cx="5112652" cy="2232000"/>
          </a:xfrm>
        </p:grpSpPr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E49B0F29-4F45-1544-BFDC-55604C19954A}"/>
                </a:ext>
              </a:extLst>
            </p:cNvPr>
            <p:cNvSpPr/>
            <p:nvPr/>
          </p:nvSpPr>
          <p:spPr>
            <a:xfrm>
              <a:off x="6277355" y="1358900"/>
              <a:ext cx="5112652" cy="2232000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555864B6-3F47-4643-A317-18FD6CEC36BE}"/>
                </a:ext>
              </a:extLst>
            </p:cNvPr>
            <p:cNvSpPr txBox="1"/>
            <p:nvPr/>
          </p:nvSpPr>
          <p:spPr>
            <a:xfrm>
              <a:off x="8138755" y="1680457"/>
              <a:ext cx="21960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ru-RU" sz="2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9E7447C-CFAA-7D40-8AD2-856063D7504A}"/>
              </a:ext>
            </a:extLst>
          </p:cNvPr>
          <p:cNvGrpSpPr/>
          <p:nvPr/>
        </p:nvGrpSpPr>
        <p:grpSpPr>
          <a:xfrm>
            <a:off x="816355" y="3975100"/>
            <a:ext cx="5112652" cy="2232000"/>
            <a:chOff x="816355" y="3975100"/>
            <a:chExt cx="5112652" cy="2232000"/>
          </a:xfrm>
        </p:grpSpPr>
        <p:sp>
          <p:nvSpPr>
            <p:cNvPr id="72" name="Скругленный прямоугольник 71">
              <a:extLst>
                <a:ext uri="{FF2B5EF4-FFF2-40B4-BE49-F238E27FC236}">
                  <a16:creationId xmlns:a16="http://schemas.microsoft.com/office/drawing/2014/main" id="{F0CFDE98-7CD0-DC47-AFB9-FBB2A24DEBCC}"/>
                </a:ext>
              </a:extLst>
            </p:cNvPr>
            <p:cNvSpPr/>
            <p:nvPr/>
          </p:nvSpPr>
          <p:spPr>
            <a:xfrm>
              <a:off x="816355" y="3975100"/>
              <a:ext cx="5112652" cy="2232000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0463083E-1D9B-E143-ADF0-D4F3B9687684}"/>
                </a:ext>
              </a:extLst>
            </p:cNvPr>
            <p:cNvSpPr txBox="1"/>
            <p:nvPr/>
          </p:nvSpPr>
          <p:spPr>
            <a:xfrm>
              <a:off x="2677755" y="4296657"/>
              <a:ext cx="21960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ru-RU" sz="2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4C382221-8610-C243-A80A-6D8086C56F6A}"/>
              </a:ext>
            </a:extLst>
          </p:cNvPr>
          <p:cNvGrpSpPr/>
          <p:nvPr/>
        </p:nvGrpSpPr>
        <p:grpSpPr>
          <a:xfrm>
            <a:off x="6277355" y="3975100"/>
            <a:ext cx="5112652" cy="2232000"/>
            <a:chOff x="6277355" y="3975100"/>
            <a:chExt cx="5112652" cy="2232000"/>
          </a:xfrm>
        </p:grpSpPr>
        <p:sp>
          <p:nvSpPr>
            <p:cNvPr id="78" name="Скругленный прямоугольник 77">
              <a:extLst>
                <a:ext uri="{FF2B5EF4-FFF2-40B4-BE49-F238E27FC236}">
                  <a16:creationId xmlns:a16="http://schemas.microsoft.com/office/drawing/2014/main" id="{014A1C91-F658-7843-8117-4596B3307711}"/>
                </a:ext>
              </a:extLst>
            </p:cNvPr>
            <p:cNvSpPr/>
            <p:nvPr/>
          </p:nvSpPr>
          <p:spPr>
            <a:xfrm>
              <a:off x="6277355" y="3975100"/>
              <a:ext cx="5112652" cy="2232000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271CA754-82F2-8941-8582-BFC436E3D21E}"/>
                </a:ext>
              </a:extLst>
            </p:cNvPr>
            <p:cNvSpPr txBox="1"/>
            <p:nvPr/>
          </p:nvSpPr>
          <p:spPr>
            <a:xfrm>
              <a:off x="8138755" y="4296657"/>
              <a:ext cx="2196000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ru-RU" sz="24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2443520" y="1410750"/>
            <a:ext cx="3797062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ru-RU" sz="2400" b="1" dirty="0">
                <a:solidFill>
                  <a:schemeClr val="accent1"/>
                </a:solidFill>
                <a:latin typeface="+mj-lt"/>
              </a:rPr>
              <a:t>Модернизация материально-технической базы </a:t>
            </a:r>
            <a:r>
              <a:rPr lang="ru-RU" sz="2400" b="1" dirty="0" smtClean="0">
                <a:solidFill>
                  <a:schemeClr val="accent1"/>
                </a:solidFill>
                <a:latin typeface="+mj-lt"/>
              </a:rPr>
              <a:t>образовательного </a:t>
            </a:r>
            <a:r>
              <a:rPr lang="ru-RU" sz="2400" b="1" dirty="0">
                <a:solidFill>
                  <a:schemeClr val="accent1"/>
                </a:solidFill>
                <a:latin typeface="+mj-lt"/>
              </a:rPr>
              <a:t>учрежд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827180" y="1865123"/>
            <a:ext cx="36558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+mj-lt"/>
              </a:rPr>
              <a:t>Увеличение спектра образовательных программам СПО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358229" y="4273574"/>
            <a:ext cx="3741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+mj-lt"/>
              </a:rPr>
              <a:t>Оптимизация кадрового обеспечения учебного процесса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738995" y="4313277"/>
            <a:ext cx="42409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accent1"/>
                </a:solidFill>
                <a:latin typeface="+mj-lt"/>
              </a:rPr>
              <a:t>Повышение гибкости реализации образовательных программ</a:t>
            </a: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38615AC-EF1B-41D7-882B-711FB2C06EED}"/>
              </a:ext>
            </a:extLst>
          </p:cNvPr>
          <p:cNvGrpSpPr/>
          <p:nvPr/>
        </p:nvGrpSpPr>
        <p:grpSpPr>
          <a:xfrm>
            <a:off x="1105989" y="1865124"/>
            <a:ext cx="989183" cy="1025334"/>
            <a:chOff x="8091971" y="4553955"/>
            <a:chExt cx="550305" cy="550305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F787930F-1773-4DCF-9383-F9EC2828D300}"/>
                </a:ext>
              </a:extLst>
            </p:cNvPr>
            <p:cNvSpPr/>
            <p:nvPr/>
          </p:nvSpPr>
          <p:spPr>
            <a:xfrm>
              <a:off x="8091971" y="4553955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39" name="Рисунок 68">
              <a:extLst>
                <a:ext uri="{FF2B5EF4-FFF2-40B4-BE49-F238E27FC236}">
                  <a16:creationId xmlns:a16="http://schemas.microsoft.com/office/drawing/2014/main" id="{ED5D01F0-D1E6-44D6-B40C-C0A8C6CB8D5C}"/>
                </a:ext>
              </a:extLst>
            </p:cNvPr>
            <p:cNvGrpSpPr/>
            <p:nvPr/>
          </p:nvGrpSpPr>
          <p:grpSpPr>
            <a:xfrm>
              <a:off x="8200311" y="4691879"/>
              <a:ext cx="331841" cy="272673"/>
              <a:chOff x="8200311" y="4691879"/>
              <a:chExt cx="331841" cy="272673"/>
            </a:xfrm>
            <a:solidFill>
              <a:srgbClr val="231F20"/>
            </a:solidFill>
          </p:grpSpPr>
          <p:sp>
            <p:nvSpPr>
              <p:cNvPr id="40" name="Рисунок 68">
                <a:extLst>
                  <a:ext uri="{FF2B5EF4-FFF2-40B4-BE49-F238E27FC236}">
                    <a16:creationId xmlns:a16="http://schemas.microsoft.com/office/drawing/2014/main" id="{7F1EEB72-68EE-4237-B2C3-10EA93799B8B}"/>
                  </a:ext>
                </a:extLst>
              </p:cNvPr>
              <p:cNvSpPr/>
              <p:nvPr/>
            </p:nvSpPr>
            <p:spPr>
              <a:xfrm>
                <a:off x="8200311" y="4691879"/>
                <a:ext cx="331841" cy="272673"/>
              </a:xfrm>
              <a:custGeom>
                <a:avLst/>
                <a:gdLst>
                  <a:gd name="connsiteX0" fmla="*/ 304396 w 331841"/>
                  <a:gd name="connsiteY0" fmla="*/ 0 h 272673"/>
                  <a:gd name="connsiteX1" fmla="*/ 27446 w 331841"/>
                  <a:gd name="connsiteY1" fmla="*/ 0 h 272673"/>
                  <a:gd name="connsiteX2" fmla="*/ 0 w 331841"/>
                  <a:gd name="connsiteY2" fmla="*/ 27446 h 272673"/>
                  <a:gd name="connsiteX3" fmla="*/ 0 w 331841"/>
                  <a:gd name="connsiteY3" fmla="*/ 245228 h 272673"/>
                  <a:gd name="connsiteX4" fmla="*/ 27446 w 331841"/>
                  <a:gd name="connsiteY4" fmla="*/ 272673 h 272673"/>
                  <a:gd name="connsiteX5" fmla="*/ 45624 w 331841"/>
                  <a:gd name="connsiteY5" fmla="*/ 272673 h 272673"/>
                  <a:gd name="connsiteX6" fmla="*/ 50970 w 331841"/>
                  <a:gd name="connsiteY6" fmla="*/ 267327 h 272673"/>
                  <a:gd name="connsiteX7" fmla="*/ 50970 w 331841"/>
                  <a:gd name="connsiteY7" fmla="*/ 228475 h 272673"/>
                  <a:gd name="connsiteX8" fmla="*/ 134733 w 331841"/>
                  <a:gd name="connsiteY8" fmla="*/ 228475 h 272673"/>
                  <a:gd name="connsiteX9" fmla="*/ 135802 w 331841"/>
                  <a:gd name="connsiteY9" fmla="*/ 228475 h 272673"/>
                  <a:gd name="connsiteX10" fmla="*/ 148277 w 331841"/>
                  <a:gd name="connsiteY10" fmla="*/ 244158 h 272673"/>
                  <a:gd name="connsiteX11" fmla="*/ 148277 w 331841"/>
                  <a:gd name="connsiteY11" fmla="*/ 255564 h 272673"/>
                  <a:gd name="connsiteX12" fmla="*/ 152911 w 331841"/>
                  <a:gd name="connsiteY12" fmla="*/ 260198 h 272673"/>
                  <a:gd name="connsiteX13" fmla="*/ 157545 w 331841"/>
                  <a:gd name="connsiteY13" fmla="*/ 255564 h 272673"/>
                  <a:gd name="connsiteX14" fmla="*/ 157545 w 331841"/>
                  <a:gd name="connsiteY14" fmla="*/ 242376 h 272673"/>
                  <a:gd name="connsiteX15" fmla="*/ 156475 w 331841"/>
                  <a:gd name="connsiteY15" fmla="*/ 239525 h 272673"/>
                  <a:gd name="connsiteX16" fmla="*/ 98376 w 331841"/>
                  <a:gd name="connsiteY16" fmla="*/ 165386 h 272673"/>
                  <a:gd name="connsiteX17" fmla="*/ 118337 w 331841"/>
                  <a:gd name="connsiteY17" fmla="*/ 167168 h 272673"/>
                  <a:gd name="connsiteX18" fmla="*/ 150059 w 331841"/>
                  <a:gd name="connsiteY18" fmla="*/ 193188 h 272673"/>
                  <a:gd name="connsiteX19" fmla="*/ 153624 w 331841"/>
                  <a:gd name="connsiteY19" fmla="*/ 194257 h 272673"/>
                  <a:gd name="connsiteX20" fmla="*/ 156832 w 331841"/>
                  <a:gd name="connsiteY20" fmla="*/ 192475 h 272673"/>
                  <a:gd name="connsiteX21" fmla="*/ 157901 w 331841"/>
                  <a:gd name="connsiteY21" fmla="*/ 189624 h 272673"/>
                  <a:gd name="connsiteX22" fmla="*/ 157901 w 331841"/>
                  <a:gd name="connsiteY22" fmla="*/ 63089 h 272673"/>
                  <a:gd name="connsiteX23" fmla="*/ 163960 w 331841"/>
                  <a:gd name="connsiteY23" fmla="*/ 57030 h 272673"/>
                  <a:gd name="connsiteX24" fmla="*/ 164673 w 331841"/>
                  <a:gd name="connsiteY24" fmla="*/ 57030 h 272673"/>
                  <a:gd name="connsiteX25" fmla="*/ 171089 w 331841"/>
                  <a:gd name="connsiteY25" fmla="*/ 63089 h 272673"/>
                  <a:gd name="connsiteX26" fmla="*/ 171089 w 331841"/>
                  <a:gd name="connsiteY26" fmla="*/ 152911 h 272673"/>
                  <a:gd name="connsiteX27" fmla="*/ 175723 w 331841"/>
                  <a:gd name="connsiteY27" fmla="*/ 157545 h 272673"/>
                  <a:gd name="connsiteX28" fmla="*/ 180356 w 331841"/>
                  <a:gd name="connsiteY28" fmla="*/ 152911 h 272673"/>
                  <a:gd name="connsiteX29" fmla="*/ 180356 w 331841"/>
                  <a:gd name="connsiteY29" fmla="*/ 112277 h 272673"/>
                  <a:gd name="connsiteX30" fmla="*/ 187129 w 331841"/>
                  <a:gd name="connsiteY30" fmla="*/ 106218 h 272673"/>
                  <a:gd name="connsiteX31" fmla="*/ 187485 w 331841"/>
                  <a:gd name="connsiteY31" fmla="*/ 106218 h 272673"/>
                  <a:gd name="connsiteX32" fmla="*/ 193545 w 331841"/>
                  <a:gd name="connsiteY32" fmla="*/ 112277 h 272673"/>
                  <a:gd name="connsiteX33" fmla="*/ 193545 w 331841"/>
                  <a:gd name="connsiteY33" fmla="*/ 152911 h 272673"/>
                  <a:gd name="connsiteX34" fmla="*/ 198178 w 331841"/>
                  <a:gd name="connsiteY34" fmla="*/ 157545 h 272673"/>
                  <a:gd name="connsiteX35" fmla="*/ 202812 w 331841"/>
                  <a:gd name="connsiteY35" fmla="*/ 152911 h 272673"/>
                  <a:gd name="connsiteX36" fmla="*/ 202812 w 331841"/>
                  <a:gd name="connsiteY36" fmla="*/ 122614 h 272673"/>
                  <a:gd name="connsiteX37" fmla="*/ 208871 w 331841"/>
                  <a:gd name="connsiteY37" fmla="*/ 116554 h 272673"/>
                  <a:gd name="connsiteX38" fmla="*/ 209584 w 331841"/>
                  <a:gd name="connsiteY38" fmla="*/ 116554 h 272673"/>
                  <a:gd name="connsiteX39" fmla="*/ 216000 w 331841"/>
                  <a:gd name="connsiteY39" fmla="*/ 122614 h 272673"/>
                  <a:gd name="connsiteX40" fmla="*/ 216000 w 331841"/>
                  <a:gd name="connsiteY40" fmla="*/ 152911 h 272673"/>
                  <a:gd name="connsiteX41" fmla="*/ 220634 w 331841"/>
                  <a:gd name="connsiteY41" fmla="*/ 157545 h 272673"/>
                  <a:gd name="connsiteX42" fmla="*/ 225267 w 331841"/>
                  <a:gd name="connsiteY42" fmla="*/ 152911 h 272673"/>
                  <a:gd name="connsiteX43" fmla="*/ 225267 w 331841"/>
                  <a:gd name="connsiteY43" fmla="*/ 137228 h 272673"/>
                  <a:gd name="connsiteX44" fmla="*/ 229545 w 331841"/>
                  <a:gd name="connsiteY44" fmla="*/ 131881 h 272673"/>
                  <a:gd name="connsiteX45" fmla="*/ 229901 w 331841"/>
                  <a:gd name="connsiteY45" fmla="*/ 131881 h 272673"/>
                  <a:gd name="connsiteX46" fmla="*/ 235604 w 331841"/>
                  <a:gd name="connsiteY46" fmla="*/ 137584 h 272673"/>
                  <a:gd name="connsiteX47" fmla="*/ 235604 w 331841"/>
                  <a:gd name="connsiteY47" fmla="*/ 210297 h 272673"/>
                  <a:gd name="connsiteX48" fmla="*/ 234535 w 331841"/>
                  <a:gd name="connsiteY48" fmla="*/ 220277 h 272673"/>
                  <a:gd name="connsiteX49" fmla="*/ 233822 w 331841"/>
                  <a:gd name="connsiteY49" fmla="*/ 223129 h 272673"/>
                  <a:gd name="connsiteX50" fmla="*/ 233822 w 331841"/>
                  <a:gd name="connsiteY50" fmla="*/ 223485 h 272673"/>
                  <a:gd name="connsiteX51" fmla="*/ 223129 w 331841"/>
                  <a:gd name="connsiteY51" fmla="*/ 240950 h 272673"/>
                  <a:gd name="connsiteX52" fmla="*/ 221703 w 331841"/>
                  <a:gd name="connsiteY52" fmla="*/ 244515 h 272673"/>
                  <a:gd name="connsiteX53" fmla="*/ 221703 w 331841"/>
                  <a:gd name="connsiteY53" fmla="*/ 252713 h 272673"/>
                  <a:gd name="connsiteX54" fmla="*/ 226337 w 331841"/>
                  <a:gd name="connsiteY54" fmla="*/ 257347 h 272673"/>
                  <a:gd name="connsiteX55" fmla="*/ 230970 w 331841"/>
                  <a:gd name="connsiteY55" fmla="*/ 252713 h 272673"/>
                  <a:gd name="connsiteX56" fmla="*/ 230970 w 331841"/>
                  <a:gd name="connsiteY56" fmla="*/ 245941 h 272673"/>
                  <a:gd name="connsiteX57" fmla="*/ 241663 w 331841"/>
                  <a:gd name="connsiteY57" fmla="*/ 228475 h 272673"/>
                  <a:gd name="connsiteX58" fmla="*/ 280871 w 331841"/>
                  <a:gd name="connsiteY58" fmla="*/ 228475 h 272673"/>
                  <a:gd name="connsiteX59" fmla="*/ 280871 w 331841"/>
                  <a:gd name="connsiteY59" fmla="*/ 267327 h 272673"/>
                  <a:gd name="connsiteX60" fmla="*/ 286218 w 331841"/>
                  <a:gd name="connsiteY60" fmla="*/ 272673 h 272673"/>
                  <a:gd name="connsiteX61" fmla="*/ 304396 w 331841"/>
                  <a:gd name="connsiteY61" fmla="*/ 272673 h 272673"/>
                  <a:gd name="connsiteX62" fmla="*/ 331842 w 331841"/>
                  <a:gd name="connsiteY62" fmla="*/ 245228 h 272673"/>
                  <a:gd name="connsiteX63" fmla="*/ 331842 w 331841"/>
                  <a:gd name="connsiteY63" fmla="*/ 27446 h 272673"/>
                  <a:gd name="connsiteX64" fmla="*/ 304396 w 331841"/>
                  <a:gd name="connsiteY64" fmla="*/ 0 h 272673"/>
                  <a:gd name="connsiteX65" fmla="*/ 10693 w 331841"/>
                  <a:gd name="connsiteY65" fmla="*/ 245228 h 272673"/>
                  <a:gd name="connsiteX66" fmla="*/ 10693 w 331841"/>
                  <a:gd name="connsiteY66" fmla="*/ 49188 h 272673"/>
                  <a:gd name="connsiteX67" fmla="*/ 27446 w 331841"/>
                  <a:gd name="connsiteY67" fmla="*/ 54891 h 272673"/>
                  <a:gd name="connsiteX68" fmla="*/ 40277 w 331841"/>
                  <a:gd name="connsiteY68" fmla="*/ 54891 h 272673"/>
                  <a:gd name="connsiteX69" fmla="*/ 40277 w 331841"/>
                  <a:gd name="connsiteY69" fmla="*/ 261980 h 272673"/>
                  <a:gd name="connsiteX70" fmla="*/ 27446 w 331841"/>
                  <a:gd name="connsiteY70" fmla="*/ 261980 h 272673"/>
                  <a:gd name="connsiteX71" fmla="*/ 10693 w 331841"/>
                  <a:gd name="connsiteY71" fmla="*/ 245228 h 272673"/>
                  <a:gd name="connsiteX72" fmla="*/ 164317 w 331841"/>
                  <a:gd name="connsiteY72" fmla="*/ 47406 h 272673"/>
                  <a:gd name="connsiteX73" fmla="*/ 163604 w 331841"/>
                  <a:gd name="connsiteY73" fmla="*/ 47406 h 272673"/>
                  <a:gd name="connsiteX74" fmla="*/ 147921 w 331841"/>
                  <a:gd name="connsiteY74" fmla="*/ 63089 h 272673"/>
                  <a:gd name="connsiteX75" fmla="*/ 147921 w 331841"/>
                  <a:gd name="connsiteY75" fmla="*/ 68436 h 272673"/>
                  <a:gd name="connsiteX76" fmla="*/ 123327 w 331841"/>
                  <a:gd name="connsiteY76" fmla="*/ 68436 h 272673"/>
                  <a:gd name="connsiteX77" fmla="*/ 123327 w 331841"/>
                  <a:gd name="connsiteY77" fmla="*/ 53465 h 272673"/>
                  <a:gd name="connsiteX78" fmla="*/ 123327 w 331841"/>
                  <a:gd name="connsiteY78" fmla="*/ 52396 h 272673"/>
                  <a:gd name="connsiteX79" fmla="*/ 123327 w 331841"/>
                  <a:gd name="connsiteY79" fmla="*/ 51327 h 272673"/>
                  <a:gd name="connsiteX80" fmla="*/ 123327 w 331841"/>
                  <a:gd name="connsiteY80" fmla="*/ 36356 h 272673"/>
                  <a:gd name="connsiteX81" fmla="*/ 201386 w 331841"/>
                  <a:gd name="connsiteY81" fmla="*/ 36356 h 272673"/>
                  <a:gd name="connsiteX82" fmla="*/ 201386 w 331841"/>
                  <a:gd name="connsiteY82" fmla="*/ 68079 h 272673"/>
                  <a:gd name="connsiteX83" fmla="*/ 179644 w 331841"/>
                  <a:gd name="connsiteY83" fmla="*/ 68079 h 272673"/>
                  <a:gd name="connsiteX84" fmla="*/ 179644 w 331841"/>
                  <a:gd name="connsiteY84" fmla="*/ 62733 h 272673"/>
                  <a:gd name="connsiteX85" fmla="*/ 164317 w 331841"/>
                  <a:gd name="connsiteY85" fmla="*/ 47406 h 272673"/>
                  <a:gd name="connsiteX86" fmla="*/ 244158 w 331841"/>
                  <a:gd name="connsiteY86" fmla="*/ 217782 h 272673"/>
                  <a:gd name="connsiteX87" fmla="*/ 244871 w 331841"/>
                  <a:gd name="connsiteY87" fmla="*/ 210297 h 272673"/>
                  <a:gd name="connsiteX88" fmla="*/ 244871 w 331841"/>
                  <a:gd name="connsiteY88" fmla="*/ 137228 h 272673"/>
                  <a:gd name="connsiteX89" fmla="*/ 229901 w 331841"/>
                  <a:gd name="connsiteY89" fmla="*/ 122257 h 272673"/>
                  <a:gd name="connsiteX90" fmla="*/ 225267 w 331841"/>
                  <a:gd name="connsiteY90" fmla="*/ 122970 h 272673"/>
                  <a:gd name="connsiteX91" fmla="*/ 225267 w 331841"/>
                  <a:gd name="connsiteY91" fmla="*/ 122257 h 272673"/>
                  <a:gd name="connsiteX92" fmla="*/ 209584 w 331841"/>
                  <a:gd name="connsiteY92" fmla="*/ 106574 h 272673"/>
                  <a:gd name="connsiteX93" fmla="*/ 208871 w 331841"/>
                  <a:gd name="connsiteY93" fmla="*/ 106574 h 272673"/>
                  <a:gd name="connsiteX94" fmla="*/ 202099 w 331841"/>
                  <a:gd name="connsiteY94" fmla="*/ 108000 h 272673"/>
                  <a:gd name="connsiteX95" fmla="*/ 187129 w 331841"/>
                  <a:gd name="connsiteY95" fmla="*/ 96238 h 272673"/>
                  <a:gd name="connsiteX96" fmla="*/ 187129 w 331841"/>
                  <a:gd name="connsiteY96" fmla="*/ 96238 h 272673"/>
                  <a:gd name="connsiteX97" fmla="*/ 180356 w 331841"/>
                  <a:gd name="connsiteY97" fmla="*/ 97663 h 272673"/>
                  <a:gd name="connsiteX98" fmla="*/ 180356 w 331841"/>
                  <a:gd name="connsiteY98" fmla="*/ 76990 h 272673"/>
                  <a:gd name="connsiteX99" fmla="*/ 206733 w 331841"/>
                  <a:gd name="connsiteY99" fmla="*/ 76990 h 272673"/>
                  <a:gd name="connsiteX100" fmla="*/ 211366 w 331841"/>
                  <a:gd name="connsiteY100" fmla="*/ 72356 h 272673"/>
                  <a:gd name="connsiteX101" fmla="*/ 211366 w 331841"/>
                  <a:gd name="connsiteY101" fmla="*/ 57030 h 272673"/>
                  <a:gd name="connsiteX102" fmla="*/ 239525 w 331841"/>
                  <a:gd name="connsiteY102" fmla="*/ 57030 h 272673"/>
                  <a:gd name="connsiteX103" fmla="*/ 239525 w 331841"/>
                  <a:gd name="connsiteY103" fmla="*/ 68792 h 272673"/>
                  <a:gd name="connsiteX104" fmla="*/ 222059 w 331841"/>
                  <a:gd name="connsiteY104" fmla="*/ 68792 h 272673"/>
                  <a:gd name="connsiteX105" fmla="*/ 216713 w 331841"/>
                  <a:gd name="connsiteY105" fmla="*/ 74139 h 272673"/>
                  <a:gd name="connsiteX106" fmla="*/ 216713 w 331841"/>
                  <a:gd name="connsiteY106" fmla="*/ 100158 h 272673"/>
                  <a:gd name="connsiteX107" fmla="*/ 222059 w 331841"/>
                  <a:gd name="connsiteY107" fmla="*/ 105505 h 272673"/>
                  <a:gd name="connsiteX108" fmla="*/ 266614 w 331841"/>
                  <a:gd name="connsiteY108" fmla="*/ 105505 h 272673"/>
                  <a:gd name="connsiteX109" fmla="*/ 271960 w 331841"/>
                  <a:gd name="connsiteY109" fmla="*/ 100158 h 272673"/>
                  <a:gd name="connsiteX110" fmla="*/ 271960 w 331841"/>
                  <a:gd name="connsiteY110" fmla="*/ 74851 h 272673"/>
                  <a:gd name="connsiteX111" fmla="*/ 266614 w 331841"/>
                  <a:gd name="connsiteY111" fmla="*/ 69505 h 272673"/>
                  <a:gd name="connsiteX112" fmla="*/ 249505 w 331841"/>
                  <a:gd name="connsiteY112" fmla="*/ 69505 h 272673"/>
                  <a:gd name="connsiteX113" fmla="*/ 249505 w 331841"/>
                  <a:gd name="connsiteY113" fmla="*/ 52396 h 272673"/>
                  <a:gd name="connsiteX114" fmla="*/ 244158 w 331841"/>
                  <a:gd name="connsiteY114" fmla="*/ 47050 h 272673"/>
                  <a:gd name="connsiteX115" fmla="*/ 210653 w 331841"/>
                  <a:gd name="connsiteY115" fmla="*/ 47050 h 272673"/>
                  <a:gd name="connsiteX116" fmla="*/ 210653 w 331841"/>
                  <a:gd name="connsiteY116" fmla="*/ 31723 h 272673"/>
                  <a:gd name="connsiteX117" fmla="*/ 206020 w 331841"/>
                  <a:gd name="connsiteY117" fmla="*/ 27089 h 272673"/>
                  <a:gd name="connsiteX118" fmla="*/ 119050 w 331841"/>
                  <a:gd name="connsiteY118" fmla="*/ 27089 h 272673"/>
                  <a:gd name="connsiteX119" fmla="*/ 114416 w 331841"/>
                  <a:gd name="connsiteY119" fmla="*/ 31723 h 272673"/>
                  <a:gd name="connsiteX120" fmla="*/ 114416 w 331841"/>
                  <a:gd name="connsiteY120" fmla="*/ 47050 h 272673"/>
                  <a:gd name="connsiteX121" fmla="*/ 81980 w 331841"/>
                  <a:gd name="connsiteY121" fmla="*/ 47050 h 272673"/>
                  <a:gd name="connsiteX122" fmla="*/ 76634 w 331841"/>
                  <a:gd name="connsiteY122" fmla="*/ 52396 h 272673"/>
                  <a:gd name="connsiteX123" fmla="*/ 76634 w 331841"/>
                  <a:gd name="connsiteY123" fmla="*/ 91960 h 272673"/>
                  <a:gd name="connsiteX124" fmla="*/ 68792 w 331841"/>
                  <a:gd name="connsiteY124" fmla="*/ 91960 h 272673"/>
                  <a:gd name="connsiteX125" fmla="*/ 63446 w 331841"/>
                  <a:gd name="connsiteY125" fmla="*/ 97307 h 272673"/>
                  <a:gd name="connsiteX126" fmla="*/ 63446 w 331841"/>
                  <a:gd name="connsiteY126" fmla="*/ 123327 h 272673"/>
                  <a:gd name="connsiteX127" fmla="*/ 68792 w 331841"/>
                  <a:gd name="connsiteY127" fmla="*/ 128673 h 272673"/>
                  <a:gd name="connsiteX128" fmla="*/ 94812 w 331841"/>
                  <a:gd name="connsiteY128" fmla="*/ 128673 h 272673"/>
                  <a:gd name="connsiteX129" fmla="*/ 100158 w 331841"/>
                  <a:gd name="connsiteY129" fmla="*/ 123327 h 272673"/>
                  <a:gd name="connsiteX130" fmla="*/ 100158 w 331841"/>
                  <a:gd name="connsiteY130" fmla="*/ 97307 h 272673"/>
                  <a:gd name="connsiteX131" fmla="*/ 94812 w 331841"/>
                  <a:gd name="connsiteY131" fmla="*/ 91960 h 272673"/>
                  <a:gd name="connsiteX132" fmla="*/ 86970 w 331841"/>
                  <a:gd name="connsiteY132" fmla="*/ 91960 h 272673"/>
                  <a:gd name="connsiteX133" fmla="*/ 86970 w 331841"/>
                  <a:gd name="connsiteY133" fmla="*/ 57743 h 272673"/>
                  <a:gd name="connsiteX134" fmla="*/ 114059 w 331841"/>
                  <a:gd name="connsiteY134" fmla="*/ 57743 h 272673"/>
                  <a:gd name="connsiteX135" fmla="*/ 114059 w 331841"/>
                  <a:gd name="connsiteY135" fmla="*/ 73069 h 272673"/>
                  <a:gd name="connsiteX136" fmla="*/ 118693 w 331841"/>
                  <a:gd name="connsiteY136" fmla="*/ 77703 h 272673"/>
                  <a:gd name="connsiteX137" fmla="*/ 147921 w 331841"/>
                  <a:gd name="connsiteY137" fmla="*/ 77703 h 272673"/>
                  <a:gd name="connsiteX138" fmla="*/ 147921 w 331841"/>
                  <a:gd name="connsiteY138" fmla="*/ 179644 h 272673"/>
                  <a:gd name="connsiteX139" fmla="*/ 124040 w 331841"/>
                  <a:gd name="connsiteY139" fmla="*/ 160040 h 272673"/>
                  <a:gd name="connsiteX140" fmla="*/ 88396 w 331841"/>
                  <a:gd name="connsiteY140" fmla="*/ 161465 h 272673"/>
                  <a:gd name="connsiteX141" fmla="*/ 88040 w 331841"/>
                  <a:gd name="connsiteY141" fmla="*/ 167525 h 272673"/>
                  <a:gd name="connsiteX142" fmla="*/ 127604 w 331841"/>
                  <a:gd name="connsiteY142" fmla="*/ 217782 h 272673"/>
                  <a:gd name="connsiteX143" fmla="*/ 50970 w 331841"/>
                  <a:gd name="connsiteY143" fmla="*/ 217782 h 272673"/>
                  <a:gd name="connsiteX144" fmla="*/ 50970 w 331841"/>
                  <a:gd name="connsiteY144" fmla="*/ 49545 h 272673"/>
                  <a:gd name="connsiteX145" fmla="*/ 45624 w 331841"/>
                  <a:gd name="connsiteY145" fmla="*/ 44198 h 272673"/>
                  <a:gd name="connsiteX146" fmla="*/ 27446 w 331841"/>
                  <a:gd name="connsiteY146" fmla="*/ 44198 h 272673"/>
                  <a:gd name="connsiteX147" fmla="*/ 10693 w 331841"/>
                  <a:gd name="connsiteY147" fmla="*/ 27446 h 272673"/>
                  <a:gd name="connsiteX148" fmla="*/ 27446 w 331841"/>
                  <a:gd name="connsiteY148" fmla="*/ 10693 h 272673"/>
                  <a:gd name="connsiteX149" fmla="*/ 304040 w 331841"/>
                  <a:gd name="connsiteY149" fmla="*/ 10693 h 272673"/>
                  <a:gd name="connsiteX150" fmla="*/ 320792 w 331841"/>
                  <a:gd name="connsiteY150" fmla="*/ 27446 h 272673"/>
                  <a:gd name="connsiteX151" fmla="*/ 304040 w 331841"/>
                  <a:gd name="connsiteY151" fmla="*/ 44198 h 272673"/>
                  <a:gd name="connsiteX152" fmla="*/ 286218 w 331841"/>
                  <a:gd name="connsiteY152" fmla="*/ 44198 h 272673"/>
                  <a:gd name="connsiteX153" fmla="*/ 280871 w 331841"/>
                  <a:gd name="connsiteY153" fmla="*/ 49545 h 272673"/>
                  <a:gd name="connsiteX154" fmla="*/ 280871 w 331841"/>
                  <a:gd name="connsiteY154" fmla="*/ 217782 h 272673"/>
                  <a:gd name="connsiteX155" fmla="*/ 244158 w 331841"/>
                  <a:gd name="connsiteY155" fmla="*/ 217782 h 272673"/>
                  <a:gd name="connsiteX156" fmla="*/ 261267 w 331841"/>
                  <a:gd name="connsiteY156" fmla="*/ 80198 h 272673"/>
                  <a:gd name="connsiteX157" fmla="*/ 261267 w 331841"/>
                  <a:gd name="connsiteY157" fmla="*/ 95525 h 272673"/>
                  <a:gd name="connsiteX158" fmla="*/ 227406 w 331841"/>
                  <a:gd name="connsiteY158" fmla="*/ 95525 h 272673"/>
                  <a:gd name="connsiteX159" fmla="*/ 227406 w 331841"/>
                  <a:gd name="connsiteY159" fmla="*/ 80198 h 272673"/>
                  <a:gd name="connsiteX160" fmla="*/ 261267 w 331841"/>
                  <a:gd name="connsiteY160" fmla="*/ 80198 h 272673"/>
                  <a:gd name="connsiteX161" fmla="*/ 89822 w 331841"/>
                  <a:gd name="connsiteY161" fmla="*/ 102653 h 272673"/>
                  <a:gd name="connsiteX162" fmla="*/ 89822 w 331841"/>
                  <a:gd name="connsiteY162" fmla="*/ 117980 h 272673"/>
                  <a:gd name="connsiteX163" fmla="*/ 74495 w 331841"/>
                  <a:gd name="connsiteY163" fmla="*/ 117980 h 272673"/>
                  <a:gd name="connsiteX164" fmla="*/ 74495 w 331841"/>
                  <a:gd name="connsiteY164" fmla="*/ 102653 h 272673"/>
                  <a:gd name="connsiteX165" fmla="*/ 89822 w 331841"/>
                  <a:gd name="connsiteY165" fmla="*/ 102653 h 272673"/>
                  <a:gd name="connsiteX166" fmla="*/ 304396 w 331841"/>
                  <a:gd name="connsiteY166" fmla="*/ 261980 h 272673"/>
                  <a:gd name="connsiteX167" fmla="*/ 291564 w 331841"/>
                  <a:gd name="connsiteY167" fmla="*/ 261980 h 272673"/>
                  <a:gd name="connsiteX168" fmla="*/ 291564 w 331841"/>
                  <a:gd name="connsiteY168" fmla="*/ 54891 h 272673"/>
                  <a:gd name="connsiteX169" fmla="*/ 304396 w 331841"/>
                  <a:gd name="connsiteY169" fmla="*/ 54891 h 272673"/>
                  <a:gd name="connsiteX170" fmla="*/ 321149 w 331841"/>
                  <a:gd name="connsiteY170" fmla="*/ 49188 h 272673"/>
                  <a:gd name="connsiteX171" fmla="*/ 321149 w 331841"/>
                  <a:gd name="connsiteY171" fmla="*/ 245228 h 272673"/>
                  <a:gd name="connsiteX172" fmla="*/ 304396 w 331841"/>
                  <a:gd name="connsiteY172" fmla="*/ 261980 h 272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</a:cxnLst>
                <a:rect l="l" t="t" r="r" b="b"/>
                <a:pathLst>
                  <a:path w="331841" h="272673">
                    <a:moveTo>
                      <a:pt x="304396" y="0"/>
                    </a:moveTo>
                    <a:lnTo>
                      <a:pt x="27446" y="0"/>
                    </a:lnTo>
                    <a:cubicBezTo>
                      <a:pt x="12119" y="0"/>
                      <a:pt x="0" y="12475"/>
                      <a:pt x="0" y="27446"/>
                    </a:cubicBezTo>
                    <a:lnTo>
                      <a:pt x="0" y="245228"/>
                    </a:lnTo>
                    <a:cubicBezTo>
                      <a:pt x="0" y="260554"/>
                      <a:pt x="12475" y="272673"/>
                      <a:pt x="27446" y="272673"/>
                    </a:cubicBezTo>
                    <a:lnTo>
                      <a:pt x="45624" y="272673"/>
                    </a:lnTo>
                    <a:cubicBezTo>
                      <a:pt x="48475" y="272673"/>
                      <a:pt x="50970" y="270178"/>
                      <a:pt x="50970" y="267327"/>
                    </a:cubicBezTo>
                    <a:lnTo>
                      <a:pt x="50970" y="228475"/>
                    </a:lnTo>
                    <a:lnTo>
                      <a:pt x="134733" y="228475"/>
                    </a:lnTo>
                    <a:cubicBezTo>
                      <a:pt x="135089" y="228475"/>
                      <a:pt x="135446" y="228475"/>
                      <a:pt x="135802" y="228475"/>
                    </a:cubicBezTo>
                    <a:lnTo>
                      <a:pt x="148277" y="244158"/>
                    </a:lnTo>
                    <a:lnTo>
                      <a:pt x="148277" y="255564"/>
                    </a:lnTo>
                    <a:cubicBezTo>
                      <a:pt x="148277" y="258059"/>
                      <a:pt x="150416" y="260198"/>
                      <a:pt x="152911" y="260198"/>
                    </a:cubicBezTo>
                    <a:cubicBezTo>
                      <a:pt x="155406" y="260198"/>
                      <a:pt x="157545" y="258059"/>
                      <a:pt x="157545" y="255564"/>
                    </a:cubicBezTo>
                    <a:lnTo>
                      <a:pt x="157545" y="242376"/>
                    </a:lnTo>
                    <a:cubicBezTo>
                      <a:pt x="157545" y="241307"/>
                      <a:pt x="157188" y="240238"/>
                      <a:pt x="156475" y="239525"/>
                    </a:cubicBezTo>
                    <a:lnTo>
                      <a:pt x="98376" y="165386"/>
                    </a:lnTo>
                    <a:cubicBezTo>
                      <a:pt x="104792" y="161465"/>
                      <a:pt x="112634" y="162178"/>
                      <a:pt x="118337" y="167168"/>
                    </a:cubicBezTo>
                    <a:lnTo>
                      <a:pt x="150059" y="193188"/>
                    </a:lnTo>
                    <a:cubicBezTo>
                      <a:pt x="151129" y="193901"/>
                      <a:pt x="152198" y="194257"/>
                      <a:pt x="153624" y="194257"/>
                    </a:cubicBezTo>
                    <a:cubicBezTo>
                      <a:pt x="154693" y="194257"/>
                      <a:pt x="156119" y="193545"/>
                      <a:pt x="156832" y="192475"/>
                    </a:cubicBezTo>
                    <a:cubicBezTo>
                      <a:pt x="157545" y="191762"/>
                      <a:pt x="157901" y="190693"/>
                      <a:pt x="157901" y="189624"/>
                    </a:cubicBezTo>
                    <a:lnTo>
                      <a:pt x="157901" y="63089"/>
                    </a:lnTo>
                    <a:cubicBezTo>
                      <a:pt x="157901" y="59525"/>
                      <a:pt x="160752" y="57030"/>
                      <a:pt x="163960" y="57030"/>
                    </a:cubicBezTo>
                    <a:lnTo>
                      <a:pt x="164673" y="57030"/>
                    </a:lnTo>
                    <a:cubicBezTo>
                      <a:pt x="168238" y="57030"/>
                      <a:pt x="171089" y="59881"/>
                      <a:pt x="171089" y="63089"/>
                    </a:cubicBezTo>
                    <a:lnTo>
                      <a:pt x="171089" y="152911"/>
                    </a:lnTo>
                    <a:cubicBezTo>
                      <a:pt x="171089" y="155406"/>
                      <a:pt x="173228" y="157545"/>
                      <a:pt x="175723" y="157545"/>
                    </a:cubicBezTo>
                    <a:cubicBezTo>
                      <a:pt x="178218" y="157545"/>
                      <a:pt x="180356" y="155406"/>
                      <a:pt x="180356" y="152911"/>
                    </a:cubicBezTo>
                    <a:lnTo>
                      <a:pt x="180356" y="112277"/>
                    </a:lnTo>
                    <a:cubicBezTo>
                      <a:pt x="180713" y="108713"/>
                      <a:pt x="183564" y="106218"/>
                      <a:pt x="187129" y="106218"/>
                    </a:cubicBezTo>
                    <a:cubicBezTo>
                      <a:pt x="187129" y="106218"/>
                      <a:pt x="187485" y="106218"/>
                      <a:pt x="187485" y="106218"/>
                    </a:cubicBezTo>
                    <a:cubicBezTo>
                      <a:pt x="191050" y="106218"/>
                      <a:pt x="193545" y="109069"/>
                      <a:pt x="193545" y="112277"/>
                    </a:cubicBezTo>
                    <a:lnTo>
                      <a:pt x="193545" y="152911"/>
                    </a:lnTo>
                    <a:cubicBezTo>
                      <a:pt x="193545" y="155406"/>
                      <a:pt x="195683" y="157545"/>
                      <a:pt x="198178" y="157545"/>
                    </a:cubicBezTo>
                    <a:cubicBezTo>
                      <a:pt x="200673" y="157545"/>
                      <a:pt x="202812" y="155406"/>
                      <a:pt x="202812" y="152911"/>
                    </a:cubicBezTo>
                    <a:lnTo>
                      <a:pt x="202812" y="122614"/>
                    </a:lnTo>
                    <a:cubicBezTo>
                      <a:pt x="202812" y="119050"/>
                      <a:pt x="205663" y="116554"/>
                      <a:pt x="208871" y="116554"/>
                    </a:cubicBezTo>
                    <a:lnTo>
                      <a:pt x="209584" y="116554"/>
                    </a:lnTo>
                    <a:cubicBezTo>
                      <a:pt x="213149" y="116554"/>
                      <a:pt x="216000" y="119406"/>
                      <a:pt x="216000" y="122614"/>
                    </a:cubicBezTo>
                    <a:lnTo>
                      <a:pt x="216000" y="152911"/>
                    </a:lnTo>
                    <a:cubicBezTo>
                      <a:pt x="216000" y="155406"/>
                      <a:pt x="218139" y="157545"/>
                      <a:pt x="220634" y="157545"/>
                    </a:cubicBezTo>
                    <a:cubicBezTo>
                      <a:pt x="223129" y="157545"/>
                      <a:pt x="225267" y="155406"/>
                      <a:pt x="225267" y="152911"/>
                    </a:cubicBezTo>
                    <a:lnTo>
                      <a:pt x="225267" y="137228"/>
                    </a:lnTo>
                    <a:cubicBezTo>
                      <a:pt x="224911" y="134733"/>
                      <a:pt x="226693" y="132238"/>
                      <a:pt x="229545" y="131881"/>
                    </a:cubicBezTo>
                    <a:cubicBezTo>
                      <a:pt x="229545" y="131881"/>
                      <a:pt x="229901" y="131881"/>
                      <a:pt x="229901" y="131881"/>
                    </a:cubicBezTo>
                    <a:cubicBezTo>
                      <a:pt x="233109" y="131881"/>
                      <a:pt x="235604" y="134376"/>
                      <a:pt x="235604" y="137584"/>
                    </a:cubicBezTo>
                    <a:lnTo>
                      <a:pt x="235604" y="210297"/>
                    </a:lnTo>
                    <a:cubicBezTo>
                      <a:pt x="235604" y="213861"/>
                      <a:pt x="235248" y="217069"/>
                      <a:pt x="234535" y="220277"/>
                    </a:cubicBezTo>
                    <a:cubicBezTo>
                      <a:pt x="234178" y="220990"/>
                      <a:pt x="233822" y="222059"/>
                      <a:pt x="233822" y="223129"/>
                    </a:cubicBezTo>
                    <a:cubicBezTo>
                      <a:pt x="233822" y="223129"/>
                      <a:pt x="233822" y="223129"/>
                      <a:pt x="233822" y="223485"/>
                    </a:cubicBezTo>
                    <a:cubicBezTo>
                      <a:pt x="231683" y="229901"/>
                      <a:pt x="228119" y="235960"/>
                      <a:pt x="223129" y="240950"/>
                    </a:cubicBezTo>
                    <a:cubicBezTo>
                      <a:pt x="222059" y="242020"/>
                      <a:pt x="221703" y="243089"/>
                      <a:pt x="221703" y="244515"/>
                    </a:cubicBezTo>
                    <a:lnTo>
                      <a:pt x="221703" y="252713"/>
                    </a:lnTo>
                    <a:cubicBezTo>
                      <a:pt x="221703" y="255208"/>
                      <a:pt x="223842" y="257347"/>
                      <a:pt x="226337" y="257347"/>
                    </a:cubicBezTo>
                    <a:cubicBezTo>
                      <a:pt x="228832" y="257347"/>
                      <a:pt x="230970" y="255208"/>
                      <a:pt x="230970" y="252713"/>
                    </a:cubicBezTo>
                    <a:lnTo>
                      <a:pt x="230970" y="245941"/>
                    </a:lnTo>
                    <a:cubicBezTo>
                      <a:pt x="235604" y="240950"/>
                      <a:pt x="239525" y="234891"/>
                      <a:pt x="241663" y="228475"/>
                    </a:cubicBezTo>
                    <a:lnTo>
                      <a:pt x="280871" y="228475"/>
                    </a:lnTo>
                    <a:lnTo>
                      <a:pt x="280871" y="267327"/>
                    </a:lnTo>
                    <a:cubicBezTo>
                      <a:pt x="280871" y="270178"/>
                      <a:pt x="283366" y="272673"/>
                      <a:pt x="286218" y="272673"/>
                    </a:cubicBezTo>
                    <a:lnTo>
                      <a:pt x="304396" y="272673"/>
                    </a:lnTo>
                    <a:cubicBezTo>
                      <a:pt x="319723" y="272673"/>
                      <a:pt x="331842" y="260198"/>
                      <a:pt x="331842" y="245228"/>
                    </a:cubicBezTo>
                    <a:lnTo>
                      <a:pt x="331842" y="27446"/>
                    </a:lnTo>
                    <a:cubicBezTo>
                      <a:pt x="331842" y="12119"/>
                      <a:pt x="319366" y="0"/>
                      <a:pt x="304396" y="0"/>
                    </a:cubicBezTo>
                    <a:close/>
                    <a:moveTo>
                      <a:pt x="10693" y="245228"/>
                    </a:moveTo>
                    <a:lnTo>
                      <a:pt x="10693" y="49188"/>
                    </a:lnTo>
                    <a:cubicBezTo>
                      <a:pt x="15327" y="52752"/>
                      <a:pt x="21030" y="54891"/>
                      <a:pt x="27446" y="54891"/>
                    </a:cubicBezTo>
                    <a:lnTo>
                      <a:pt x="40277" y="54891"/>
                    </a:lnTo>
                    <a:lnTo>
                      <a:pt x="40277" y="261980"/>
                    </a:lnTo>
                    <a:lnTo>
                      <a:pt x="27446" y="261980"/>
                    </a:lnTo>
                    <a:cubicBezTo>
                      <a:pt x="18178" y="261980"/>
                      <a:pt x="10693" y="254495"/>
                      <a:pt x="10693" y="245228"/>
                    </a:cubicBezTo>
                    <a:close/>
                    <a:moveTo>
                      <a:pt x="164317" y="47406"/>
                    </a:moveTo>
                    <a:lnTo>
                      <a:pt x="163604" y="47406"/>
                    </a:lnTo>
                    <a:cubicBezTo>
                      <a:pt x="155050" y="47406"/>
                      <a:pt x="147921" y="54535"/>
                      <a:pt x="147921" y="63089"/>
                    </a:cubicBezTo>
                    <a:lnTo>
                      <a:pt x="147921" y="68436"/>
                    </a:lnTo>
                    <a:lnTo>
                      <a:pt x="123327" y="68436"/>
                    </a:lnTo>
                    <a:lnTo>
                      <a:pt x="123327" y="53465"/>
                    </a:lnTo>
                    <a:cubicBezTo>
                      <a:pt x="123327" y="53109"/>
                      <a:pt x="123327" y="52752"/>
                      <a:pt x="123327" y="52396"/>
                    </a:cubicBezTo>
                    <a:cubicBezTo>
                      <a:pt x="123327" y="52040"/>
                      <a:pt x="123327" y="51683"/>
                      <a:pt x="123327" y="51327"/>
                    </a:cubicBezTo>
                    <a:lnTo>
                      <a:pt x="123327" y="36356"/>
                    </a:lnTo>
                    <a:lnTo>
                      <a:pt x="201386" y="36356"/>
                    </a:lnTo>
                    <a:lnTo>
                      <a:pt x="201386" y="68079"/>
                    </a:lnTo>
                    <a:lnTo>
                      <a:pt x="179644" y="68079"/>
                    </a:lnTo>
                    <a:lnTo>
                      <a:pt x="179644" y="62733"/>
                    </a:lnTo>
                    <a:cubicBezTo>
                      <a:pt x="180000" y="54178"/>
                      <a:pt x="172871" y="47406"/>
                      <a:pt x="164317" y="47406"/>
                    </a:cubicBezTo>
                    <a:close/>
                    <a:moveTo>
                      <a:pt x="244158" y="217782"/>
                    </a:moveTo>
                    <a:cubicBezTo>
                      <a:pt x="244515" y="215287"/>
                      <a:pt x="244871" y="212792"/>
                      <a:pt x="244871" y="210297"/>
                    </a:cubicBezTo>
                    <a:lnTo>
                      <a:pt x="244871" y="137228"/>
                    </a:lnTo>
                    <a:cubicBezTo>
                      <a:pt x="244871" y="129030"/>
                      <a:pt x="238099" y="122257"/>
                      <a:pt x="229901" y="122257"/>
                    </a:cubicBezTo>
                    <a:cubicBezTo>
                      <a:pt x="228475" y="122257"/>
                      <a:pt x="226693" y="122614"/>
                      <a:pt x="225267" y="122970"/>
                    </a:cubicBezTo>
                    <a:lnTo>
                      <a:pt x="225267" y="122257"/>
                    </a:lnTo>
                    <a:cubicBezTo>
                      <a:pt x="225267" y="113703"/>
                      <a:pt x="218139" y="106574"/>
                      <a:pt x="209584" y="106574"/>
                    </a:cubicBezTo>
                    <a:lnTo>
                      <a:pt x="208871" y="106574"/>
                    </a:lnTo>
                    <a:cubicBezTo>
                      <a:pt x="206733" y="106574"/>
                      <a:pt x="204238" y="107287"/>
                      <a:pt x="202099" y="108000"/>
                    </a:cubicBezTo>
                    <a:cubicBezTo>
                      <a:pt x="200317" y="101228"/>
                      <a:pt x="194257" y="96238"/>
                      <a:pt x="187129" y="96238"/>
                    </a:cubicBezTo>
                    <a:cubicBezTo>
                      <a:pt x="187129" y="96238"/>
                      <a:pt x="187129" y="96238"/>
                      <a:pt x="187129" y="96238"/>
                    </a:cubicBezTo>
                    <a:cubicBezTo>
                      <a:pt x="184634" y="96238"/>
                      <a:pt x="182495" y="96594"/>
                      <a:pt x="180356" y="97663"/>
                    </a:cubicBezTo>
                    <a:lnTo>
                      <a:pt x="180356" y="76990"/>
                    </a:lnTo>
                    <a:lnTo>
                      <a:pt x="206733" y="76990"/>
                    </a:lnTo>
                    <a:cubicBezTo>
                      <a:pt x="209228" y="76990"/>
                      <a:pt x="211366" y="74851"/>
                      <a:pt x="211366" y="72356"/>
                    </a:cubicBezTo>
                    <a:lnTo>
                      <a:pt x="211366" y="57030"/>
                    </a:lnTo>
                    <a:lnTo>
                      <a:pt x="239525" y="57030"/>
                    </a:lnTo>
                    <a:lnTo>
                      <a:pt x="239525" y="68792"/>
                    </a:lnTo>
                    <a:lnTo>
                      <a:pt x="222059" y="68792"/>
                    </a:lnTo>
                    <a:cubicBezTo>
                      <a:pt x="219208" y="68792"/>
                      <a:pt x="216713" y="71287"/>
                      <a:pt x="216713" y="74139"/>
                    </a:cubicBezTo>
                    <a:lnTo>
                      <a:pt x="216713" y="100158"/>
                    </a:lnTo>
                    <a:cubicBezTo>
                      <a:pt x="216713" y="103010"/>
                      <a:pt x="219208" y="105505"/>
                      <a:pt x="222059" y="105505"/>
                    </a:cubicBezTo>
                    <a:lnTo>
                      <a:pt x="266614" y="105505"/>
                    </a:lnTo>
                    <a:cubicBezTo>
                      <a:pt x="269465" y="105505"/>
                      <a:pt x="271960" y="103010"/>
                      <a:pt x="271960" y="100158"/>
                    </a:cubicBezTo>
                    <a:lnTo>
                      <a:pt x="271960" y="74851"/>
                    </a:lnTo>
                    <a:cubicBezTo>
                      <a:pt x="271960" y="72000"/>
                      <a:pt x="269465" y="69505"/>
                      <a:pt x="266614" y="69505"/>
                    </a:cubicBezTo>
                    <a:lnTo>
                      <a:pt x="249505" y="69505"/>
                    </a:lnTo>
                    <a:lnTo>
                      <a:pt x="249505" y="52396"/>
                    </a:lnTo>
                    <a:cubicBezTo>
                      <a:pt x="249505" y="49545"/>
                      <a:pt x="247010" y="47050"/>
                      <a:pt x="244158" y="47050"/>
                    </a:cubicBezTo>
                    <a:lnTo>
                      <a:pt x="210653" y="47050"/>
                    </a:lnTo>
                    <a:lnTo>
                      <a:pt x="210653" y="31723"/>
                    </a:lnTo>
                    <a:cubicBezTo>
                      <a:pt x="210653" y="29228"/>
                      <a:pt x="208515" y="27089"/>
                      <a:pt x="206020" y="27089"/>
                    </a:cubicBezTo>
                    <a:lnTo>
                      <a:pt x="119050" y="27089"/>
                    </a:lnTo>
                    <a:cubicBezTo>
                      <a:pt x="116554" y="27089"/>
                      <a:pt x="114416" y="29228"/>
                      <a:pt x="114416" y="31723"/>
                    </a:cubicBezTo>
                    <a:lnTo>
                      <a:pt x="114416" y="47050"/>
                    </a:lnTo>
                    <a:lnTo>
                      <a:pt x="81980" y="47050"/>
                    </a:lnTo>
                    <a:cubicBezTo>
                      <a:pt x="79129" y="47050"/>
                      <a:pt x="76634" y="49545"/>
                      <a:pt x="76634" y="52396"/>
                    </a:cubicBezTo>
                    <a:lnTo>
                      <a:pt x="76634" y="91960"/>
                    </a:lnTo>
                    <a:lnTo>
                      <a:pt x="68792" y="91960"/>
                    </a:lnTo>
                    <a:cubicBezTo>
                      <a:pt x="65941" y="91960"/>
                      <a:pt x="63446" y="94455"/>
                      <a:pt x="63446" y="97307"/>
                    </a:cubicBezTo>
                    <a:lnTo>
                      <a:pt x="63446" y="123327"/>
                    </a:lnTo>
                    <a:cubicBezTo>
                      <a:pt x="63446" y="126178"/>
                      <a:pt x="65941" y="128673"/>
                      <a:pt x="68792" y="128673"/>
                    </a:cubicBezTo>
                    <a:lnTo>
                      <a:pt x="94812" y="128673"/>
                    </a:lnTo>
                    <a:cubicBezTo>
                      <a:pt x="97663" y="128673"/>
                      <a:pt x="100158" y="126178"/>
                      <a:pt x="100158" y="123327"/>
                    </a:cubicBezTo>
                    <a:lnTo>
                      <a:pt x="100158" y="97307"/>
                    </a:lnTo>
                    <a:cubicBezTo>
                      <a:pt x="100158" y="94455"/>
                      <a:pt x="97663" y="91960"/>
                      <a:pt x="94812" y="91960"/>
                    </a:cubicBezTo>
                    <a:lnTo>
                      <a:pt x="86970" y="91960"/>
                    </a:lnTo>
                    <a:lnTo>
                      <a:pt x="86970" y="57743"/>
                    </a:lnTo>
                    <a:lnTo>
                      <a:pt x="114059" y="57743"/>
                    </a:lnTo>
                    <a:lnTo>
                      <a:pt x="114059" y="73069"/>
                    </a:lnTo>
                    <a:cubicBezTo>
                      <a:pt x="114059" y="75564"/>
                      <a:pt x="116198" y="77703"/>
                      <a:pt x="118693" y="77703"/>
                    </a:cubicBezTo>
                    <a:lnTo>
                      <a:pt x="147921" y="77703"/>
                    </a:lnTo>
                    <a:lnTo>
                      <a:pt x="147921" y="179644"/>
                    </a:lnTo>
                    <a:lnTo>
                      <a:pt x="124040" y="160040"/>
                    </a:lnTo>
                    <a:cubicBezTo>
                      <a:pt x="113347" y="151129"/>
                      <a:pt x="98020" y="151842"/>
                      <a:pt x="88396" y="161465"/>
                    </a:cubicBezTo>
                    <a:cubicBezTo>
                      <a:pt x="86614" y="162891"/>
                      <a:pt x="86614" y="165386"/>
                      <a:pt x="88040" y="167525"/>
                    </a:cubicBezTo>
                    <a:lnTo>
                      <a:pt x="127604" y="217782"/>
                    </a:lnTo>
                    <a:lnTo>
                      <a:pt x="50970" y="217782"/>
                    </a:lnTo>
                    <a:lnTo>
                      <a:pt x="50970" y="49545"/>
                    </a:lnTo>
                    <a:cubicBezTo>
                      <a:pt x="50970" y="46693"/>
                      <a:pt x="48475" y="44198"/>
                      <a:pt x="45624" y="44198"/>
                    </a:cubicBezTo>
                    <a:lnTo>
                      <a:pt x="27446" y="44198"/>
                    </a:lnTo>
                    <a:cubicBezTo>
                      <a:pt x="18178" y="44198"/>
                      <a:pt x="10693" y="36713"/>
                      <a:pt x="10693" y="27446"/>
                    </a:cubicBezTo>
                    <a:cubicBezTo>
                      <a:pt x="10693" y="18178"/>
                      <a:pt x="18178" y="10693"/>
                      <a:pt x="27446" y="10693"/>
                    </a:cubicBezTo>
                    <a:lnTo>
                      <a:pt x="304040" y="10693"/>
                    </a:lnTo>
                    <a:cubicBezTo>
                      <a:pt x="313307" y="10693"/>
                      <a:pt x="320792" y="18178"/>
                      <a:pt x="320792" y="27446"/>
                    </a:cubicBezTo>
                    <a:cubicBezTo>
                      <a:pt x="320792" y="36713"/>
                      <a:pt x="313307" y="44198"/>
                      <a:pt x="304040" y="44198"/>
                    </a:cubicBezTo>
                    <a:lnTo>
                      <a:pt x="286218" y="44198"/>
                    </a:lnTo>
                    <a:cubicBezTo>
                      <a:pt x="283366" y="44198"/>
                      <a:pt x="280871" y="46693"/>
                      <a:pt x="280871" y="49545"/>
                    </a:cubicBezTo>
                    <a:lnTo>
                      <a:pt x="280871" y="217782"/>
                    </a:lnTo>
                    <a:lnTo>
                      <a:pt x="244158" y="217782"/>
                    </a:lnTo>
                    <a:close/>
                    <a:moveTo>
                      <a:pt x="261267" y="80198"/>
                    </a:moveTo>
                    <a:lnTo>
                      <a:pt x="261267" y="95525"/>
                    </a:lnTo>
                    <a:lnTo>
                      <a:pt x="227406" y="95525"/>
                    </a:lnTo>
                    <a:lnTo>
                      <a:pt x="227406" y="80198"/>
                    </a:lnTo>
                    <a:lnTo>
                      <a:pt x="261267" y="80198"/>
                    </a:lnTo>
                    <a:close/>
                    <a:moveTo>
                      <a:pt x="89822" y="102653"/>
                    </a:moveTo>
                    <a:lnTo>
                      <a:pt x="89822" y="117980"/>
                    </a:lnTo>
                    <a:lnTo>
                      <a:pt x="74495" y="117980"/>
                    </a:lnTo>
                    <a:lnTo>
                      <a:pt x="74495" y="102653"/>
                    </a:lnTo>
                    <a:lnTo>
                      <a:pt x="89822" y="102653"/>
                    </a:lnTo>
                    <a:close/>
                    <a:moveTo>
                      <a:pt x="304396" y="261980"/>
                    </a:moveTo>
                    <a:lnTo>
                      <a:pt x="291564" y="261980"/>
                    </a:lnTo>
                    <a:lnTo>
                      <a:pt x="291564" y="54891"/>
                    </a:lnTo>
                    <a:lnTo>
                      <a:pt x="304396" y="54891"/>
                    </a:lnTo>
                    <a:cubicBezTo>
                      <a:pt x="310812" y="54891"/>
                      <a:pt x="316515" y="52752"/>
                      <a:pt x="321149" y="49188"/>
                    </a:cubicBezTo>
                    <a:lnTo>
                      <a:pt x="321149" y="245228"/>
                    </a:lnTo>
                    <a:cubicBezTo>
                      <a:pt x="321149" y="254495"/>
                      <a:pt x="313663" y="261980"/>
                      <a:pt x="304396" y="26198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Рисунок 68">
                <a:extLst>
                  <a:ext uri="{FF2B5EF4-FFF2-40B4-BE49-F238E27FC236}">
                    <a16:creationId xmlns:a16="http://schemas.microsoft.com/office/drawing/2014/main" id="{0495A76E-03D3-4374-90B4-F7E7BEC96299}"/>
                  </a:ext>
                </a:extLst>
              </p:cNvPr>
              <p:cNvSpPr/>
              <p:nvPr/>
            </p:nvSpPr>
            <p:spPr>
              <a:xfrm>
                <a:off x="8309380" y="4789186"/>
                <a:ext cx="31009" cy="10693"/>
              </a:xfrm>
              <a:custGeom>
                <a:avLst/>
                <a:gdLst>
                  <a:gd name="connsiteX0" fmla="*/ 5347 w 31009"/>
                  <a:gd name="connsiteY0" fmla="*/ 10693 h 10693"/>
                  <a:gd name="connsiteX1" fmla="*/ 25663 w 31009"/>
                  <a:gd name="connsiteY1" fmla="*/ 10693 h 10693"/>
                  <a:gd name="connsiteX2" fmla="*/ 31010 w 31009"/>
                  <a:gd name="connsiteY2" fmla="*/ 5347 h 10693"/>
                  <a:gd name="connsiteX3" fmla="*/ 25663 w 31009"/>
                  <a:gd name="connsiteY3" fmla="*/ 0 h 10693"/>
                  <a:gd name="connsiteX4" fmla="*/ 5347 w 31009"/>
                  <a:gd name="connsiteY4" fmla="*/ 0 h 10693"/>
                  <a:gd name="connsiteX5" fmla="*/ 0 w 31009"/>
                  <a:gd name="connsiteY5" fmla="*/ 5347 h 10693"/>
                  <a:gd name="connsiteX6" fmla="*/ 5347 w 31009"/>
                  <a:gd name="connsiteY6" fmla="*/ 10693 h 10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009" h="10693">
                    <a:moveTo>
                      <a:pt x="5347" y="10693"/>
                    </a:moveTo>
                    <a:lnTo>
                      <a:pt x="25663" y="10693"/>
                    </a:lnTo>
                    <a:cubicBezTo>
                      <a:pt x="28515" y="10693"/>
                      <a:pt x="31010" y="8198"/>
                      <a:pt x="31010" y="5347"/>
                    </a:cubicBezTo>
                    <a:cubicBezTo>
                      <a:pt x="31010" y="2495"/>
                      <a:pt x="28515" y="0"/>
                      <a:pt x="25663" y="0"/>
                    </a:cubicBezTo>
                    <a:lnTo>
                      <a:pt x="5347" y="0"/>
                    </a:lnTo>
                    <a:cubicBezTo>
                      <a:pt x="2495" y="0"/>
                      <a:pt x="0" y="2495"/>
                      <a:pt x="0" y="5347"/>
                    </a:cubicBezTo>
                    <a:cubicBezTo>
                      <a:pt x="0" y="8198"/>
                      <a:pt x="2495" y="10693"/>
                      <a:pt x="5347" y="10693"/>
                    </a:cubicBezTo>
                    <a:close/>
                  </a:path>
                </a:pathLst>
              </a:custGeom>
              <a:solidFill>
                <a:srgbClr val="231F2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Рисунок 68">
                <a:extLst>
                  <a:ext uri="{FF2B5EF4-FFF2-40B4-BE49-F238E27FC236}">
                    <a16:creationId xmlns:a16="http://schemas.microsoft.com/office/drawing/2014/main" id="{9F3B7429-24E2-41A6-ADB7-8C583407D228}"/>
                  </a:ext>
                </a:extLst>
              </p:cNvPr>
              <p:cNvSpPr/>
              <p:nvPr/>
            </p:nvSpPr>
            <p:spPr>
              <a:xfrm>
                <a:off x="8309380" y="4804869"/>
                <a:ext cx="31009" cy="10693"/>
              </a:xfrm>
              <a:custGeom>
                <a:avLst/>
                <a:gdLst>
                  <a:gd name="connsiteX0" fmla="*/ 5347 w 31009"/>
                  <a:gd name="connsiteY0" fmla="*/ 10693 h 10693"/>
                  <a:gd name="connsiteX1" fmla="*/ 25663 w 31009"/>
                  <a:gd name="connsiteY1" fmla="*/ 10693 h 10693"/>
                  <a:gd name="connsiteX2" fmla="*/ 31010 w 31009"/>
                  <a:gd name="connsiteY2" fmla="*/ 5347 h 10693"/>
                  <a:gd name="connsiteX3" fmla="*/ 25663 w 31009"/>
                  <a:gd name="connsiteY3" fmla="*/ 0 h 10693"/>
                  <a:gd name="connsiteX4" fmla="*/ 5347 w 31009"/>
                  <a:gd name="connsiteY4" fmla="*/ 0 h 10693"/>
                  <a:gd name="connsiteX5" fmla="*/ 0 w 31009"/>
                  <a:gd name="connsiteY5" fmla="*/ 5347 h 10693"/>
                  <a:gd name="connsiteX6" fmla="*/ 5347 w 31009"/>
                  <a:gd name="connsiteY6" fmla="*/ 10693 h 10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009" h="10693">
                    <a:moveTo>
                      <a:pt x="5347" y="10693"/>
                    </a:moveTo>
                    <a:lnTo>
                      <a:pt x="25663" y="10693"/>
                    </a:lnTo>
                    <a:cubicBezTo>
                      <a:pt x="28515" y="10693"/>
                      <a:pt x="31010" y="8198"/>
                      <a:pt x="31010" y="5347"/>
                    </a:cubicBezTo>
                    <a:cubicBezTo>
                      <a:pt x="31010" y="2495"/>
                      <a:pt x="28515" y="0"/>
                      <a:pt x="25663" y="0"/>
                    </a:cubicBezTo>
                    <a:lnTo>
                      <a:pt x="5347" y="0"/>
                    </a:lnTo>
                    <a:cubicBezTo>
                      <a:pt x="2495" y="0"/>
                      <a:pt x="0" y="2495"/>
                      <a:pt x="0" y="5347"/>
                    </a:cubicBezTo>
                    <a:cubicBezTo>
                      <a:pt x="0" y="8198"/>
                      <a:pt x="2495" y="10693"/>
                      <a:pt x="5347" y="10693"/>
                    </a:cubicBezTo>
                    <a:close/>
                  </a:path>
                </a:pathLst>
              </a:custGeom>
              <a:solidFill>
                <a:srgbClr val="231F20"/>
              </a:solidFill>
              <a:ln w="348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376CDAB-0525-4F11-8535-20BF7C5C5CE4}"/>
              </a:ext>
            </a:extLst>
          </p:cNvPr>
          <p:cNvGrpSpPr/>
          <p:nvPr/>
        </p:nvGrpSpPr>
        <p:grpSpPr>
          <a:xfrm>
            <a:off x="6571719" y="1900356"/>
            <a:ext cx="1008410" cy="990101"/>
            <a:chOff x="8106751" y="1804128"/>
            <a:chExt cx="550305" cy="550305"/>
          </a:xfrm>
        </p:grpSpPr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7D1A9DC3-E61A-4F7B-B083-3CE0D5B94435}"/>
                </a:ext>
              </a:extLst>
            </p:cNvPr>
            <p:cNvSpPr/>
            <p:nvPr/>
          </p:nvSpPr>
          <p:spPr>
            <a:xfrm>
              <a:off x="8106751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2FB17488-277B-4FA0-B616-2C05BF84D028}"/>
                </a:ext>
              </a:extLst>
            </p:cNvPr>
            <p:cNvGrpSpPr/>
            <p:nvPr/>
          </p:nvGrpSpPr>
          <p:grpSpPr>
            <a:xfrm>
              <a:off x="8239703" y="1933918"/>
              <a:ext cx="284400" cy="280800"/>
              <a:chOff x="8239703" y="1908280"/>
              <a:chExt cx="284400" cy="280800"/>
            </a:xfrm>
          </p:grpSpPr>
          <p:sp>
            <p:nvSpPr>
              <p:cNvPr id="46" name="Рисунок 52">
                <a:extLst>
                  <a:ext uri="{FF2B5EF4-FFF2-40B4-BE49-F238E27FC236}">
                    <a16:creationId xmlns:a16="http://schemas.microsoft.com/office/drawing/2014/main" id="{7B56593F-75D9-4D03-8AEF-F58D22D51F33}"/>
                  </a:ext>
                </a:extLst>
              </p:cNvPr>
              <p:cNvSpPr/>
              <p:nvPr/>
            </p:nvSpPr>
            <p:spPr>
              <a:xfrm>
                <a:off x="8239703" y="1951480"/>
                <a:ext cx="284400" cy="237600"/>
              </a:xfrm>
              <a:custGeom>
                <a:avLst/>
                <a:gdLst>
                  <a:gd name="connsiteX0" fmla="*/ 279000 w 284400"/>
                  <a:gd name="connsiteY0" fmla="*/ 226800 h 237600"/>
                  <a:gd name="connsiteX1" fmla="*/ 262800 w 284400"/>
                  <a:gd name="connsiteY1" fmla="*/ 226800 h 237600"/>
                  <a:gd name="connsiteX2" fmla="*/ 262800 w 284400"/>
                  <a:gd name="connsiteY2" fmla="*/ 5400 h 237600"/>
                  <a:gd name="connsiteX3" fmla="*/ 257400 w 284400"/>
                  <a:gd name="connsiteY3" fmla="*/ 0 h 237600"/>
                  <a:gd name="connsiteX4" fmla="*/ 207000 w 284400"/>
                  <a:gd name="connsiteY4" fmla="*/ 0 h 237600"/>
                  <a:gd name="connsiteX5" fmla="*/ 201600 w 284400"/>
                  <a:gd name="connsiteY5" fmla="*/ 5400 h 237600"/>
                  <a:gd name="connsiteX6" fmla="*/ 201600 w 284400"/>
                  <a:gd name="connsiteY6" fmla="*/ 226800 h 237600"/>
                  <a:gd name="connsiteX7" fmla="*/ 172800 w 284400"/>
                  <a:gd name="connsiteY7" fmla="*/ 226800 h 237600"/>
                  <a:gd name="connsiteX8" fmla="*/ 172800 w 284400"/>
                  <a:gd name="connsiteY8" fmla="*/ 88200 h 237600"/>
                  <a:gd name="connsiteX9" fmla="*/ 167400 w 284400"/>
                  <a:gd name="connsiteY9" fmla="*/ 82800 h 237600"/>
                  <a:gd name="connsiteX10" fmla="*/ 117000 w 284400"/>
                  <a:gd name="connsiteY10" fmla="*/ 82800 h 237600"/>
                  <a:gd name="connsiteX11" fmla="*/ 111600 w 284400"/>
                  <a:gd name="connsiteY11" fmla="*/ 88200 h 237600"/>
                  <a:gd name="connsiteX12" fmla="*/ 111600 w 284400"/>
                  <a:gd name="connsiteY12" fmla="*/ 226800 h 237600"/>
                  <a:gd name="connsiteX13" fmla="*/ 82800 w 284400"/>
                  <a:gd name="connsiteY13" fmla="*/ 226800 h 237600"/>
                  <a:gd name="connsiteX14" fmla="*/ 82800 w 284400"/>
                  <a:gd name="connsiteY14" fmla="*/ 167400 h 237600"/>
                  <a:gd name="connsiteX15" fmla="*/ 77400 w 284400"/>
                  <a:gd name="connsiteY15" fmla="*/ 162000 h 237600"/>
                  <a:gd name="connsiteX16" fmla="*/ 27000 w 284400"/>
                  <a:gd name="connsiteY16" fmla="*/ 162000 h 237600"/>
                  <a:gd name="connsiteX17" fmla="*/ 21600 w 284400"/>
                  <a:gd name="connsiteY17" fmla="*/ 167400 h 237600"/>
                  <a:gd name="connsiteX18" fmla="*/ 21600 w 284400"/>
                  <a:gd name="connsiteY18" fmla="*/ 226800 h 237600"/>
                  <a:gd name="connsiteX19" fmla="*/ 5400 w 284400"/>
                  <a:gd name="connsiteY19" fmla="*/ 226800 h 237600"/>
                  <a:gd name="connsiteX20" fmla="*/ 0 w 284400"/>
                  <a:gd name="connsiteY20" fmla="*/ 232200 h 237600"/>
                  <a:gd name="connsiteX21" fmla="*/ 5400 w 284400"/>
                  <a:gd name="connsiteY21" fmla="*/ 237600 h 237600"/>
                  <a:gd name="connsiteX22" fmla="*/ 279000 w 284400"/>
                  <a:gd name="connsiteY22" fmla="*/ 237600 h 237600"/>
                  <a:gd name="connsiteX23" fmla="*/ 284400 w 284400"/>
                  <a:gd name="connsiteY23" fmla="*/ 232200 h 237600"/>
                  <a:gd name="connsiteX24" fmla="*/ 279000 w 284400"/>
                  <a:gd name="connsiteY24" fmla="*/ 226800 h 237600"/>
                  <a:gd name="connsiteX25" fmla="*/ 212400 w 284400"/>
                  <a:gd name="connsiteY25" fmla="*/ 10800 h 237600"/>
                  <a:gd name="connsiteX26" fmla="*/ 252000 w 284400"/>
                  <a:gd name="connsiteY26" fmla="*/ 10800 h 237600"/>
                  <a:gd name="connsiteX27" fmla="*/ 252000 w 284400"/>
                  <a:gd name="connsiteY27" fmla="*/ 226800 h 237600"/>
                  <a:gd name="connsiteX28" fmla="*/ 212400 w 284400"/>
                  <a:gd name="connsiteY28" fmla="*/ 226800 h 237600"/>
                  <a:gd name="connsiteX29" fmla="*/ 122400 w 284400"/>
                  <a:gd name="connsiteY29" fmla="*/ 93600 h 237600"/>
                  <a:gd name="connsiteX30" fmla="*/ 162000 w 284400"/>
                  <a:gd name="connsiteY30" fmla="*/ 93600 h 237600"/>
                  <a:gd name="connsiteX31" fmla="*/ 162000 w 284400"/>
                  <a:gd name="connsiteY31" fmla="*/ 226800 h 237600"/>
                  <a:gd name="connsiteX32" fmla="*/ 122400 w 284400"/>
                  <a:gd name="connsiteY32" fmla="*/ 226800 h 237600"/>
                  <a:gd name="connsiteX33" fmla="*/ 32400 w 284400"/>
                  <a:gd name="connsiteY33" fmla="*/ 172800 h 237600"/>
                  <a:gd name="connsiteX34" fmla="*/ 72000 w 284400"/>
                  <a:gd name="connsiteY34" fmla="*/ 172800 h 237600"/>
                  <a:gd name="connsiteX35" fmla="*/ 72000 w 284400"/>
                  <a:gd name="connsiteY35" fmla="*/ 226800 h 237600"/>
                  <a:gd name="connsiteX36" fmla="*/ 32400 w 284400"/>
                  <a:gd name="connsiteY36" fmla="*/ 226800 h 237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84400" h="237600">
                    <a:moveTo>
                      <a:pt x="279000" y="226800"/>
                    </a:moveTo>
                    <a:lnTo>
                      <a:pt x="262800" y="226800"/>
                    </a:lnTo>
                    <a:lnTo>
                      <a:pt x="262800" y="5400"/>
                    </a:lnTo>
                    <a:cubicBezTo>
                      <a:pt x="262800" y="2418"/>
                      <a:pt x="260382" y="0"/>
                      <a:pt x="257400" y="0"/>
                    </a:cubicBezTo>
                    <a:lnTo>
                      <a:pt x="207000" y="0"/>
                    </a:lnTo>
                    <a:cubicBezTo>
                      <a:pt x="204018" y="0"/>
                      <a:pt x="201600" y="2418"/>
                      <a:pt x="201600" y="5400"/>
                    </a:cubicBezTo>
                    <a:lnTo>
                      <a:pt x="201600" y="226800"/>
                    </a:lnTo>
                    <a:lnTo>
                      <a:pt x="172800" y="226800"/>
                    </a:lnTo>
                    <a:lnTo>
                      <a:pt x="172800" y="88200"/>
                    </a:lnTo>
                    <a:cubicBezTo>
                      <a:pt x="172800" y="85218"/>
                      <a:pt x="170382" y="82800"/>
                      <a:pt x="167400" y="82800"/>
                    </a:cubicBezTo>
                    <a:lnTo>
                      <a:pt x="117000" y="82800"/>
                    </a:lnTo>
                    <a:cubicBezTo>
                      <a:pt x="114018" y="82800"/>
                      <a:pt x="111600" y="85218"/>
                      <a:pt x="111600" y="88200"/>
                    </a:cubicBezTo>
                    <a:lnTo>
                      <a:pt x="111600" y="226800"/>
                    </a:lnTo>
                    <a:lnTo>
                      <a:pt x="82800" y="226800"/>
                    </a:lnTo>
                    <a:lnTo>
                      <a:pt x="82800" y="167400"/>
                    </a:lnTo>
                    <a:cubicBezTo>
                      <a:pt x="82800" y="164418"/>
                      <a:pt x="80382" y="162000"/>
                      <a:pt x="77400" y="162000"/>
                    </a:cubicBezTo>
                    <a:lnTo>
                      <a:pt x="27000" y="162000"/>
                    </a:lnTo>
                    <a:cubicBezTo>
                      <a:pt x="24018" y="162000"/>
                      <a:pt x="21600" y="164418"/>
                      <a:pt x="21600" y="167400"/>
                    </a:cubicBezTo>
                    <a:lnTo>
                      <a:pt x="21600" y="226800"/>
                    </a:lnTo>
                    <a:lnTo>
                      <a:pt x="5400" y="226800"/>
                    </a:lnTo>
                    <a:cubicBezTo>
                      <a:pt x="2418" y="226800"/>
                      <a:pt x="0" y="229218"/>
                      <a:pt x="0" y="232200"/>
                    </a:cubicBezTo>
                    <a:cubicBezTo>
                      <a:pt x="0" y="235182"/>
                      <a:pt x="2418" y="237600"/>
                      <a:pt x="5400" y="237600"/>
                    </a:cubicBezTo>
                    <a:lnTo>
                      <a:pt x="279000" y="237600"/>
                    </a:lnTo>
                    <a:cubicBezTo>
                      <a:pt x="281982" y="237600"/>
                      <a:pt x="284400" y="235182"/>
                      <a:pt x="284400" y="232200"/>
                    </a:cubicBezTo>
                    <a:cubicBezTo>
                      <a:pt x="284400" y="229218"/>
                      <a:pt x="281982" y="226800"/>
                      <a:pt x="279000" y="226800"/>
                    </a:cubicBezTo>
                    <a:close/>
                    <a:moveTo>
                      <a:pt x="212400" y="10800"/>
                    </a:moveTo>
                    <a:lnTo>
                      <a:pt x="252000" y="10800"/>
                    </a:lnTo>
                    <a:lnTo>
                      <a:pt x="252000" y="226800"/>
                    </a:lnTo>
                    <a:lnTo>
                      <a:pt x="212400" y="226800"/>
                    </a:lnTo>
                    <a:close/>
                    <a:moveTo>
                      <a:pt x="122400" y="93600"/>
                    </a:moveTo>
                    <a:lnTo>
                      <a:pt x="162000" y="93600"/>
                    </a:lnTo>
                    <a:lnTo>
                      <a:pt x="162000" y="226800"/>
                    </a:lnTo>
                    <a:lnTo>
                      <a:pt x="122400" y="226800"/>
                    </a:lnTo>
                    <a:close/>
                    <a:moveTo>
                      <a:pt x="32400" y="172800"/>
                    </a:moveTo>
                    <a:lnTo>
                      <a:pt x="72000" y="172800"/>
                    </a:lnTo>
                    <a:lnTo>
                      <a:pt x="72000" y="226800"/>
                    </a:lnTo>
                    <a:lnTo>
                      <a:pt x="32400" y="226800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Рисунок 52">
                <a:extLst>
                  <a:ext uri="{FF2B5EF4-FFF2-40B4-BE49-F238E27FC236}">
                    <a16:creationId xmlns:a16="http://schemas.microsoft.com/office/drawing/2014/main" id="{5E0FBDF8-B692-475F-819F-8B1765C2C422}"/>
                  </a:ext>
                </a:extLst>
              </p:cNvPr>
              <p:cNvSpPr/>
              <p:nvPr/>
            </p:nvSpPr>
            <p:spPr>
              <a:xfrm>
                <a:off x="8243307" y="1908280"/>
                <a:ext cx="169195" cy="169200"/>
              </a:xfrm>
              <a:custGeom>
                <a:avLst/>
                <a:gdLst>
                  <a:gd name="connsiteX0" fmla="*/ 5395 w 169195"/>
                  <a:gd name="connsiteY0" fmla="*/ 169200 h 169200"/>
                  <a:gd name="connsiteX1" fmla="*/ 9211 w 169195"/>
                  <a:gd name="connsiteY1" fmla="*/ 167616 h 169200"/>
                  <a:gd name="connsiteX2" fmla="*/ 158395 w 169195"/>
                  <a:gd name="connsiteY2" fmla="*/ 18432 h 169200"/>
                  <a:gd name="connsiteX3" fmla="*/ 158395 w 169195"/>
                  <a:gd name="connsiteY3" fmla="*/ 41400 h 169200"/>
                  <a:gd name="connsiteX4" fmla="*/ 163795 w 169195"/>
                  <a:gd name="connsiteY4" fmla="*/ 46800 h 169200"/>
                  <a:gd name="connsiteX5" fmla="*/ 169195 w 169195"/>
                  <a:gd name="connsiteY5" fmla="*/ 41400 h 169200"/>
                  <a:gd name="connsiteX6" fmla="*/ 169195 w 169195"/>
                  <a:gd name="connsiteY6" fmla="*/ 5400 h 169200"/>
                  <a:gd name="connsiteX7" fmla="*/ 168799 w 169195"/>
                  <a:gd name="connsiteY7" fmla="*/ 3420 h 169200"/>
                  <a:gd name="connsiteX8" fmla="*/ 168799 w 169195"/>
                  <a:gd name="connsiteY8" fmla="*/ 3420 h 169200"/>
                  <a:gd name="connsiteX9" fmla="*/ 165847 w 169195"/>
                  <a:gd name="connsiteY9" fmla="*/ 468 h 169200"/>
                  <a:gd name="connsiteX10" fmla="*/ 165847 w 169195"/>
                  <a:gd name="connsiteY10" fmla="*/ 468 h 169200"/>
                  <a:gd name="connsiteX11" fmla="*/ 163795 w 169195"/>
                  <a:gd name="connsiteY11" fmla="*/ 0 h 169200"/>
                  <a:gd name="connsiteX12" fmla="*/ 127795 w 169195"/>
                  <a:gd name="connsiteY12" fmla="*/ 0 h 169200"/>
                  <a:gd name="connsiteX13" fmla="*/ 122395 w 169195"/>
                  <a:gd name="connsiteY13" fmla="*/ 5400 h 169200"/>
                  <a:gd name="connsiteX14" fmla="*/ 127795 w 169195"/>
                  <a:gd name="connsiteY14" fmla="*/ 10800 h 169200"/>
                  <a:gd name="connsiteX15" fmla="*/ 150763 w 169195"/>
                  <a:gd name="connsiteY15" fmla="*/ 10800 h 169200"/>
                  <a:gd name="connsiteX16" fmla="*/ 1579 w 169195"/>
                  <a:gd name="connsiteY16" fmla="*/ 159984 h 169200"/>
                  <a:gd name="connsiteX17" fmla="*/ 1584 w 169195"/>
                  <a:gd name="connsiteY17" fmla="*/ 167621 h 169200"/>
                  <a:gd name="connsiteX18" fmla="*/ 5395 w 169195"/>
                  <a:gd name="connsiteY18" fmla="*/ 169200 h 169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69195" h="169200">
                    <a:moveTo>
                      <a:pt x="5395" y="169200"/>
                    </a:moveTo>
                    <a:cubicBezTo>
                      <a:pt x="6827" y="169199"/>
                      <a:pt x="8200" y="168629"/>
                      <a:pt x="9211" y="167616"/>
                    </a:cubicBezTo>
                    <a:lnTo>
                      <a:pt x="158395" y="18432"/>
                    </a:lnTo>
                    <a:lnTo>
                      <a:pt x="158395" y="41400"/>
                    </a:lnTo>
                    <a:cubicBezTo>
                      <a:pt x="158395" y="44382"/>
                      <a:pt x="160813" y="46800"/>
                      <a:pt x="163795" y="46800"/>
                    </a:cubicBezTo>
                    <a:cubicBezTo>
                      <a:pt x="166777" y="46800"/>
                      <a:pt x="169195" y="44382"/>
                      <a:pt x="169195" y="41400"/>
                    </a:cubicBezTo>
                    <a:lnTo>
                      <a:pt x="169195" y="5400"/>
                    </a:lnTo>
                    <a:cubicBezTo>
                      <a:pt x="169190" y="4721"/>
                      <a:pt x="169056" y="4049"/>
                      <a:pt x="168799" y="3420"/>
                    </a:cubicBezTo>
                    <a:lnTo>
                      <a:pt x="168799" y="3420"/>
                    </a:lnTo>
                    <a:cubicBezTo>
                      <a:pt x="168251" y="2080"/>
                      <a:pt x="167187" y="1016"/>
                      <a:pt x="165847" y="468"/>
                    </a:cubicBezTo>
                    <a:lnTo>
                      <a:pt x="165847" y="468"/>
                    </a:lnTo>
                    <a:cubicBezTo>
                      <a:pt x="165201" y="178"/>
                      <a:pt x="164503" y="19"/>
                      <a:pt x="163795" y="0"/>
                    </a:cubicBezTo>
                    <a:lnTo>
                      <a:pt x="127795" y="0"/>
                    </a:lnTo>
                    <a:cubicBezTo>
                      <a:pt x="124813" y="0"/>
                      <a:pt x="122395" y="2418"/>
                      <a:pt x="122395" y="5400"/>
                    </a:cubicBezTo>
                    <a:cubicBezTo>
                      <a:pt x="122395" y="8382"/>
                      <a:pt x="124813" y="10800"/>
                      <a:pt x="127795" y="10800"/>
                    </a:cubicBezTo>
                    <a:lnTo>
                      <a:pt x="150763" y="10800"/>
                    </a:lnTo>
                    <a:lnTo>
                      <a:pt x="1579" y="159984"/>
                    </a:lnTo>
                    <a:cubicBezTo>
                      <a:pt x="-528" y="162094"/>
                      <a:pt x="-526" y="165513"/>
                      <a:pt x="1584" y="167621"/>
                    </a:cubicBezTo>
                    <a:cubicBezTo>
                      <a:pt x="2595" y="168631"/>
                      <a:pt x="3966" y="169199"/>
                      <a:pt x="5395" y="1692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75BF5477-D413-434F-B3E0-1B25BAA4A838}"/>
              </a:ext>
            </a:extLst>
          </p:cNvPr>
          <p:cNvGrpSpPr/>
          <p:nvPr/>
        </p:nvGrpSpPr>
        <p:grpSpPr>
          <a:xfrm>
            <a:off x="1058550" y="4481323"/>
            <a:ext cx="876470" cy="1022797"/>
            <a:chOff x="818055" y="1804128"/>
            <a:chExt cx="550305" cy="55030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4F3BEA15-6B48-446C-95B8-75DBA9CC8A8D}"/>
                </a:ext>
              </a:extLst>
            </p:cNvPr>
            <p:cNvSpPr/>
            <p:nvPr/>
          </p:nvSpPr>
          <p:spPr>
            <a:xfrm>
              <a:off x="818055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Рисунок 40">
              <a:extLst>
                <a:ext uri="{FF2B5EF4-FFF2-40B4-BE49-F238E27FC236}">
                  <a16:creationId xmlns:a16="http://schemas.microsoft.com/office/drawing/2014/main" id="{6007302B-2BFB-47B9-9414-52A56F84A51E}"/>
                </a:ext>
              </a:extLst>
            </p:cNvPr>
            <p:cNvSpPr/>
            <p:nvPr/>
          </p:nvSpPr>
          <p:spPr>
            <a:xfrm>
              <a:off x="935094" y="1918662"/>
              <a:ext cx="306457" cy="328766"/>
            </a:xfrm>
            <a:custGeom>
              <a:avLst/>
              <a:gdLst>
                <a:gd name="connsiteX0" fmla="*/ 304056 w 306457"/>
                <a:gd name="connsiteY0" fmla="*/ 99461 h 328766"/>
                <a:gd name="connsiteX1" fmla="*/ 156226 w 306457"/>
                <a:gd name="connsiteY1" fmla="*/ 907 h 328766"/>
                <a:gd name="connsiteX2" fmla="*/ 150235 w 306457"/>
                <a:gd name="connsiteY2" fmla="*/ 907 h 328766"/>
                <a:gd name="connsiteX3" fmla="*/ 2405 w 306457"/>
                <a:gd name="connsiteY3" fmla="*/ 99461 h 328766"/>
                <a:gd name="connsiteX4" fmla="*/ 0 w 306457"/>
                <a:gd name="connsiteY4" fmla="*/ 103954 h 328766"/>
                <a:gd name="connsiteX5" fmla="*/ 2405 w 306457"/>
                <a:gd name="connsiteY5" fmla="*/ 108446 h 328766"/>
                <a:gd name="connsiteX6" fmla="*/ 24858 w 306457"/>
                <a:gd name="connsiteY6" fmla="*/ 123415 h 328766"/>
                <a:gd name="connsiteX7" fmla="*/ 24858 w 306457"/>
                <a:gd name="connsiteY7" fmla="*/ 202302 h 328766"/>
                <a:gd name="connsiteX8" fmla="*/ 27342 w 306457"/>
                <a:gd name="connsiteY8" fmla="*/ 206849 h 328766"/>
                <a:gd name="connsiteX9" fmla="*/ 151178 w 306457"/>
                <a:gd name="connsiteY9" fmla="*/ 286240 h 328766"/>
                <a:gd name="connsiteX10" fmla="*/ 154094 w 306457"/>
                <a:gd name="connsiteY10" fmla="*/ 287093 h 328766"/>
                <a:gd name="connsiteX11" fmla="*/ 157136 w 306457"/>
                <a:gd name="connsiteY11" fmla="*/ 286153 h 328766"/>
                <a:gd name="connsiteX12" fmla="*/ 221746 w 306457"/>
                <a:gd name="connsiteY12" fmla="*/ 242075 h 328766"/>
                <a:gd name="connsiteX13" fmla="*/ 221746 w 306457"/>
                <a:gd name="connsiteY13" fmla="*/ 272812 h 328766"/>
                <a:gd name="connsiteX14" fmla="*/ 197676 w 306457"/>
                <a:gd name="connsiteY14" fmla="*/ 320951 h 328766"/>
                <a:gd name="connsiteX15" fmla="*/ 197910 w 306457"/>
                <a:gd name="connsiteY15" fmla="*/ 326207 h 328766"/>
                <a:gd name="connsiteX16" fmla="*/ 202504 w 306457"/>
                <a:gd name="connsiteY16" fmla="*/ 328766 h 328766"/>
                <a:gd name="connsiteX17" fmla="*/ 251784 w 306457"/>
                <a:gd name="connsiteY17" fmla="*/ 328766 h 328766"/>
                <a:gd name="connsiteX18" fmla="*/ 256378 w 306457"/>
                <a:gd name="connsiteY18" fmla="*/ 326207 h 328766"/>
                <a:gd name="connsiteX19" fmla="*/ 256612 w 306457"/>
                <a:gd name="connsiteY19" fmla="*/ 320951 h 328766"/>
                <a:gd name="connsiteX20" fmla="*/ 232542 w 306457"/>
                <a:gd name="connsiteY20" fmla="*/ 272812 h 328766"/>
                <a:gd name="connsiteX21" fmla="*/ 232542 w 306457"/>
                <a:gd name="connsiteY21" fmla="*/ 234706 h 328766"/>
                <a:gd name="connsiteX22" fmla="*/ 273499 w 306457"/>
                <a:gd name="connsiteY22" fmla="*/ 206762 h 328766"/>
                <a:gd name="connsiteX23" fmla="*/ 275854 w 306457"/>
                <a:gd name="connsiteY23" fmla="*/ 202302 h 328766"/>
                <a:gd name="connsiteX24" fmla="*/ 275854 w 306457"/>
                <a:gd name="connsiteY24" fmla="*/ 127246 h 328766"/>
                <a:gd name="connsiteX25" fmla="*/ 304052 w 306457"/>
                <a:gd name="connsiteY25" fmla="*/ 108446 h 328766"/>
                <a:gd name="connsiteX26" fmla="*/ 306457 w 306457"/>
                <a:gd name="connsiteY26" fmla="*/ 103954 h 328766"/>
                <a:gd name="connsiteX27" fmla="*/ 304056 w 306457"/>
                <a:gd name="connsiteY27" fmla="*/ 99461 h 328766"/>
                <a:gd name="connsiteX28" fmla="*/ 211244 w 306457"/>
                <a:gd name="connsiteY28" fmla="*/ 317966 h 328766"/>
                <a:gd name="connsiteX29" fmla="*/ 227146 w 306457"/>
                <a:gd name="connsiteY29" fmla="*/ 286164 h 328766"/>
                <a:gd name="connsiteX30" fmla="*/ 243047 w 306457"/>
                <a:gd name="connsiteY30" fmla="*/ 317966 h 328766"/>
                <a:gd name="connsiteX31" fmla="*/ 211244 w 306457"/>
                <a:gd name="connsiteY31" fmla="*/ 317966 h 328766"/>
                <a:gd name="connsiteX32" fmla="*/ 154001 w 306457"/>
                <a:gd name="connsiteY32" fmla="*/ 275220 h 328766"/>
                <a:gd name="connsiteX33" fmla="*/ 35658 w 306457"/>
                <a:gd name="connsiteY33" fmla="*/ 199350 h 328766"/>
                <a:gd name="connsiteX34" fmla="*/ 35658 w 306457"/>
                <a:gd name="connsiteY34" fmla="*/ 130615 h 328766"/>
                <a:gd name="connsiteX35" fmla="*/ 150235 w 306457"/>
                <a:gd name="connsiteY35" fmla="*/ 207004 h 328766"/>
                <a:gd name="connsiteX36" fmla="*/ 153230 w 306457"/>
                <a:gd name="connsiteY36" fmla="*/ 207911 h 328766"/>
                <a:gd name="connsiteX37" fmla="*/ 156226 w 306457"/>
                <a:gd name="connsiteY37" fmla="*/ 207004 h 328766"/>
                <a:gd name="connsiteX38" fmla="*/ 221746 w 306457"/>
                <a:gd name="connsiteY38" fmla="*/ 163321 h 328766"/>
                <a:gd name="connsiteX39" fmla="*/ 221746 w 306457"/>
                <a:gd name="connsiteY39" fmla="*/ 229000 h 328766"/>
                <a:gd name="connsiteX40" fmla="*/ 154001 w 306457"/>
                <a:gd name="connsiteY40" fmla="*/ 275220 h 328766"/>
                <a:gd name="connsiteX41" fmla="*/ 265057 w 306457"/>
                <a:gd name="connsiteY41" fmla="*/ 199451 h 328766"/>
                <a:gd name="connsiteX42" fmla="*/ 232546 w 306457"/>
                <a:gd name="connsiteY42" fmla="*/ 221634 h 328766"/>
                <a:gd name="connsiteX43" fmla="*/ 232546 w 306457"/>
                <a:gd name="connsiteY43" fmla="*/ 156121 h 328766"/>
                <a:gd name="connsiteX44" fmla="*/ 265057 w 306457"/>
                <a:gd name="connsiteY44" fmla="*/ 134446 h 328766"/>
                <a:gd name="connsiteX45" fmla="*/ 265057 w 306457"/>
                <a:gd name="connsiteY45" fmla="*/ 199451 h 328766"/>
                <a:gd name="connsiteX46" fmla="*/ 268582 w 306457"/>
                <a:gd name="connsiteY46" fmla="*/ 119117 h 328766"/>
                <a:gd name="connsiteX47" fmla="*/ 266515 w 306457"/>
                <a:gd name="connsiteY47" fmla="*/ 120496 h 328766"/>
                <a:gd name="connsiteX48" fmla="*/ 227146 w 306457"/>
                <a:gd name="connsiteY48" fmla="*/ 146743 h 328766"/>
                <a:gd name="connsiteX49" fmla="*/ 156226 w 306457"/>
                <a:gd name="connsiteY49" fmla="*/ 99461 h 328766"/>
                <a:gd name="connsiteX50" fmla="*/ 148738 w 306457"/>
                <a:gd name="connsiteY50" fmla="*/ 100958 h 328766"/>
                <a:gd name="connsiteX51" fmla="*/ 150235 w 306457"/>
                <a:gd name="connsiteY51" fmla="*/ 108446 h 328766"/>
                <a:gd name="connsiteX52" fmla="*/ 217411 w 306457"/>
                <a:gd name="connsiteY52" fmla="*/ 153230 h 328766"/>
                <a:gd name="connsiteX53" fmla="*/ 153230 w 306457"/>
                <a:gd name="connsiteY53" fmla="*/ 196020 h 328766"/>
                <a:gd name="connsiteX54" fmla="*/ 15134 w 306457"/>
                <a:gd name="connsiteY54" fmla="*/ 103954 h 328766"/>
                <a:gd name="connsiteX55" fmla="*/ 153230 w 306457"/>
                <a:gd name="connsiteY55" fmla="*/ 11891 h 328766"/>
                <a:gd name="connsiteX56" fmla="*/ 291326 w 306457"/>
                <a:gd name="connsiteY56" fmla="*/ 103954 h 328766"/>
                <a:gd name="connsiteX57" fmla="*/ 268582 w 306457"/>
                <a:gd name="connsiteY57" fmla="*/ 119117 h 32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6457" h="328766">
                  <a:moveTo>
                    <a:pt x="304056" y="99461"/>
                  </a:moveTo>
                  <a:lnTo>
                    <a:pt x="156226" y="907"/>
                  </a:lnTo>
                  <a:cubicBezTo>
                    <a:pt x="154411" y="-302"/>
                    <a:pt x="152050" y="-302"/>
                    <a:pt x="150235" y="907"/>
                  </a:cubicBezTo>
                  <a:lnTo>
                    <a:pt x="2405" y="99461"/>
                  </a:lnTo>
                  <a:cubicBezTo>
                    <a:pt x="904" y="100462"/>
                    <a:pt x="0" y="102150"/>
                    <a:pt x="0" y="103954"/>
                  </a:cubicBezTo>
                  <a:cubicBezTo>
                    <a:pt x="0" y="105757"/>
                    <a:pt x="900" y="107446"/>
                    <a:pt x="2405" y="108446"/>
                  </a:cubicBezTo>
                  <a:lnTo>
                    <a:pt x="24858" y="123415"/>
                  </a:lnTo>
                  <a:lnTo>
                    <a:pt x="24858" y="202302"/>
                  </a:lnTo>
                  <a:cubicBezTo>
                    <a:pt x="24858" y="204142"/>
                    <a:pt x="25794" y="205855"/>
                    <a:pt x="27342" y="206849"/>
                  </a:cubicBezTo>
                  <a:lnTo>
                    <a:pt x="151178" y="286240"/>
                  </a:lnTo>
                  <a:cubicBezTo>
                    <a:pt x="152068" y="286808"/>
                    <a:pt x="153079" y="287093"/>
                    <a:pt x="154094" y="287093"/>
                  </a:cubicBezTo>
                  <a:cubicBezTo>
                    <a:pt x="155156" y="287093"/>
                    <a:pt x="156222" y="286780"/>
                    <a:pt x="157136" y="286153"/>
                  </a:cubicBezTo>
                  <a:lnTo>
                    <a:pt x="221746" y="242075"/>
                  </a:lnTo>
                  <a:lnTo>
                    <a:pt x="221746" y="272812"/>
                  </a:lnTo>
                  <a:lnTo>
                    <a:pt x="197676" y="320951"/>
                  </a:lnTo>
                  <a:cubicBezTo>
                    <a:pt x="196841" y="322625"/>
                    <a:pt x="196931" y="324616"/>
                    <a:pt x="197910" y="326207"/>
                  </a:cubicBezTo>
                  <a:cubicBezTo>
                    <a:pt x="198893" y="327794"/>
                    <a:pt x="200635" y="328766"/>
                    <a:pt x="202504" y="328766"/>
                  </a:cubicBezTo>
                  <a:lnTo>
                    <a:pt x="251784" y="328766"/>
                  </a:lnTo>
                  <a:cubicBezTo>
                    <a:pt x="253656" y="328766"/>
                    <a:pt x="255395" y="327794"/>
                    <a:pt x="256378" y="326207"/>
                  </a:cubicBezTo>
                  <a:cubicBezTo>
                    <a:pt x="257357" y="324616"/>
                    <a:pt x="257450" y="322625"/>
                    <a:pt x="256612" y="320951"/>
                  </a:cubicBezTo>
                  <a:lnTo>
                    <a:pt x="232542" y="272812"/>
                  </a:lnTo>
                  <a:lnTo>
                    <a:pt x="232542" y="234706"/>
                  </a:lnTo>
                  <a:lnTo>
                    <a:pt x="273499" y="206762"/>
                  </a:lnTo>
                  <a:cubicBezTo>
                    <a:pt x="274972" y="205758"/>
                    <a:pt x="275854" y="204088"/>
                    <a:pt x="275854" y="202302"/>
                  </a:cubicBezTo>
                  <a:lnTo>
                    <a:pt x="275854" y="127246"/>
                  </a:lnTo>
                  <a:lnTo>
                    <a:pt x="304052" y="108446"/>
                  </a:lnTo>
                  <a:cubicBezTo>
                    <a:pt x="305554" y="107446"/>
                    <a:pt x="306457" y="105757"/>
                    <a:pt x="306457" y="103954"/>
                  </a:cubicBezTo>
                  <a:cubicBezTo>
                    <a:pt x="306457" y="102150"/>
                    <a:pt x="305557" y="100462"/>
                    <a:pt x="304056" y="99461"/>
                  </a:cubicBezTo>
                  <a:close/>
                  <a:moveTo>
                    <a:pt x="211244" y="317966"/>
                  </a:moveTo>
                  <a:lnTo>
                    <a:pt x="227146" y="286164"/>
                  </a:lnTo>
                  <a:lnTo>
                    <a:pt x="243047" y="317966"/>
                  </a:lnTo>
                  <a:lnTo>
                    <a:pt x="211244" y="317966"/>
                  </a:lnTo>
                  <a:close/>
                  <a:moveTo>
                    <a:pt x="154001" y="275220"/>
                  </a:moveTo>
                  <a:lnTo>
                    <a:pt x="35658" y="199350"/>
                  </a:lnTo>
                  <a:lnTo>
                    <a:pt x="35658" y="130615"/>
                  </a:lnTo>
                  <a:lnTo>
                    <a:pt x="150235" y="207004"/>
                  </a:lnTo>
                  <a:cubicBezTo>
                    <a:pt x="151142" y="207608"/>
                    <a:pt x="152186" y="207911"/>
                    <a:pt x="153230" y="207911"/>
                  </a:cubicBezTo>
                  <a:cubicBezTo>
                    <a:pt x="154274" y="207911"/>
                    <a:pt x="155318" y="207608"/>
                    <a:pt x="156226" y="207004"/>
                  </a:cubicBezTo>
                  <a:lnTo>
                    <a:pt x="221746" y="163321"/>
                  </a:lnTo>
                  <a:lnTo>
                    <a:pt x="221746" y="229000"/>
                  </a:lnTo>
                  <a:lnTo>
                    <a:pt x="154001" y="275220"/>
                  </a:lnTo>
                  <a:close/>
                  <a:moveTo>
                    <a:pt x="265057" y="199451"/>
                  </a:moveTo>
                  <a:lnTo>
                    <a:pt x="232546" y="221634"/>
                  </a:lnTo>
                  <a:lnTo>
                    <a:pt x="232546" y="156121"/>
                  </a:lnTo>
                  <a:lnTo>
                    <a:pt x="265057" y="134446"/>
                  </a:lnTo>
                  <a:lnTo>
                    <a:pt x="265057" y="199451"/>
                  </a:lnTo>
                  <a:close/>
                  <a:moveTo>
                    <a:pt x="268582" y="119117"/>
                  </a:moveTo>
                  <a:cubicBezTo>
                    <a:pt x="267786" y="119412"/>
                    <a:pt x="267084" y="119884"/>
                    <a:pt x="266515" y="120496"/>
                  </a:cubicBezTo>
                  <a:lnTo>
                    <a:pt x="227146" y="146743"/>
                  </a:lnTo>
                  <a:lnTo>
                    <a:pt x="156226" y="99461"/>
                  </a:lnTo>
                  <a:cubicBezTo>
                    <a:pt x="153738" y="97805"/>
                    <a:pt x="150390" y="98478"/>
                    <a:pt x="148738" y="100958"/>
                  </a:cubicBezTo>
                  <a:cubicBezTo>
                    <a:pt x="147085" y="103439"/>
                    <a:pt x="147755" y="106794"/>
                    <a:pt x="150235" y="108446"/>
                  </a:cubicBezTo>
                  <a:lnTo>
                    <a:pt x="217411" y="153230"/>
                  </a:lnTo>
                  <a:lnTo>
                    <a:pt x="153230" y="196020"/>
                  </a:lnTo>
                  <a:lnTo>
                    <a:pt x="15134" y="103954"/>
                  </a:lnTo>
                  <a:lnTo>
                    <a:pt x="153230" y="11891"/>
                  </a:lnTo>
                  <a:lnTo>
                    <a:pt x="291326" y="103954"/>
                  </a:lnTo>
                  <a:lnTo>
                    <a:pt x="268582" y="119117"/>
                  </a:lnTo>
                  <a:close/>
                </a:path>
              </a:pathLst>
            </a:custGeom>
            <a:solidFill>
              <a:srgbClr val="00000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76454CBB-F3F6-4C0F-A5A2-ECEA25D57302}"/>
              </a:ext>
            </a:extLst>
          </p:cNvPr>
          <p:cNvGrpSpPr/>
          <p:nvPr/>
        </p:nvGrpSpPr>
        <p:grpSpPr>
          <a:xfrm>
            <a:off x="6490644" y="4476508"/>
            <a:ext cx="1031475" cy="1027612"/>
            <a:chOff x="1729142" y="3484946"/>
            <a:chExt cx="550305" cy="550305"/>
          </a:xfrm>
        </p:grpSpPr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7C639AE3-593C-471C-8C04-80BC6091F722}"/>
                </a:ext>
              </a:extLst>
            </p:cNvPr>
            <p:cNvSpPr/>
            <p:nvPr/>
          </p:nvSpPr>
          <p:spPr>
            <a:xfrm>
              <a:off x="1729142" y="3484946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3" name="Рисунок 42">
              <a:extLst>
                <a:ext uri="{FF2B5EF4-FFF2-40B4-BE49-F238E27FC236}">
                  <a16:creationId xmlns:a16="http://schemas.microsoft.com/office/drawing/2014/main" id="{56B8316D-3DFE-4C41-94AA-52C30003FACC}"/>
                </a:ext>
              </a:extLst>
            </p:cNvPr>
            <p:cNvGrpSpPr/>
            <p:nvPr/>
          </p:nvGrpSpPr>
          <p:grpSpPr>
            <a:xfrm>
              <a:off x="1831009" y="3662066"/>
              <a:ext cx="351980" cy="227570"/>
              <a:chOff x="1831009" y="3662066"/>
              <a:chExt cx="351980" cy="227570"/>
            </a:xfrm>
            <a:solidFill>
              <a:srgbClr val="231F20"/>
            </a:solidFill>
          </p:grpSpPr>
          <p:sp>
            <p:nvSpPr>
              <p:cNvPr id="54" name="Рисунок 42">
                <a:extLst>
                  <a:ext uri="{FF2B5EF4-FFF2-40B4-BE49-F238E27FC236}">
                    <a16:creationId xmlns:a16="http://schemas.microsoft.com/office/drawing/2014/main" id="{CC566B68-9032-4288-BA4D-9711383BB245}"/>
                  </a:ext>
                </a:extLst>
              </p:cNvPr>
              <p:cNvSpPr/>
              <p:nvPr/>
            </p:nvSpPr>
            <p:spPr>
              <a:xfrm>
                <a:off x="1952864" y="3662070"/>
                <a:ext cx="108264" cy="104605"/>
              </a:xfrm>
              <a:custGeom>
                <a:avLst/>
                <a:gdLst>
                  <a:gd name="connsiteX0" fmla="*/ 87345 w 108264"/>
                  <a:gd name="connsiteY0" fmla="*/ 102845 h 104605"/>
                  <a:gd name="connsiteX1" fmla="*/ 90707 w 108264"/>
                  <a:gd name="connsiteY1" fmla="*/ 94482 h 104605"/>
                  <a:gd name="connsiteX2" fmla="*/ 86086 w 108264"/>
                  <a:gd name="connsiteY2" fmla="*/ 67306 h 104605"/>
                  <a:gd name="connsiteX3" fmla="*/ 105693 w 108264"/>
                  <a:gd name="connsiteY3" fmla="*/ 48046 h 104605"/>
                  <a:gd name="connsiteX4" fmla="*/ 107846 w 108264"/>
                  <a:gd name="connsiteY4" fmla="*/ 39294 h 104605"/>
                  <a:gd name="connsiteX5" fmla="*/ 100986 w 108264"/>
                  <a:gd name="connsiteY5" fmla="*/ 33466 h 104605"/>
                  <a:gd name="connsiteX6" fmla="*/ 73862 w 108264"/>
                  <a:gd name="connsiteY6" fmla="*/ 29498 h 104605"/>
                  <a:gd name="connsiteX7" fmla="*/ 61738 w 108264"/>
                  <a:gd name="connsiteY7" fmla="*/ 4741 h 104605"/>
                  <a:gd name="connsiteX8" fmla="*/ 54120 w 108264"/>
                  <a:gd name="connsiteY8" fmla="*/ 0 h 104605"/>
                  <a:gd name="connsiteX9" fmla="*/ 54084 w 108264"/>
                  <a:gd name="connsiteY9" fmla="*/ 0 h 104605"/>
                  <a:gd name="connsiteX10" fmla="*/ 46506 w 108264"/>
                  <a:gd name="connsiteY10" fmla="*/ 4774 h 104605"/>
                  <a:gd name="connsiteX11" fmla="*/ 34396 w 108264"/>
                  <a:gd name="connsiteY11" fmla="*/ 29498 h 104605"/>
                  <a:gd name="connsiteX12" fmla="*/ 7283 w 108264"/>
                  <a:gd name="connsiteY12" fmla="*/ 33466 h 104605"/>
                  <a:gd name="connsiteX13" fmla="*/ 416 w 108264"/>
                  <a:gd name="connsiteY13" fmla="*/ 39312 h 104605"/>
                  <a:gd name="connsiteX14" fmla="*/ 2569 w 108264"/>
                  <a:gd name="connsiteY14" fmla="*/ 48038 h 104605"/>
                  <a:gd name="connsiteX15" fmla="*/ 22186 w 108264"/>
                  <a:gd name="connsiteY15" fmla="*/ 67306 h 104605"/>
                  <a:gd name="connsiteX16" fmla="*/ 17551 w 108264"/>
                  <a:gd name="connsiteY16" fmla="*/ 94597 h 104605"/>
                  <a:gd name="connsiteX17" fmla="*/ 20870 w 108264"/>
                  <a:gd name="connsiteY17" fmla="*/ 102928 h 104605"/>
                  <a:gd name="connsiteX18" fmla="*/ 25898 w 108264"/>
                  <a:gd name="connsiteY18" fmla="*/ 104605 h 104605"/>
                  <a:gd name="connsiteX19" fmla="*/ 29736 w 108264"/>
                  <a:gd name="connsiteY19" fmla="*/ 103676 h 104605"/>
                  <a:gd name="connsiteX20" fmla="*/ 54696 w 108264"/>
                  <a:gd name="connsiteY20" fmla="*/ 90961 h 104605"/>
                  <a:gd name="connsiteX21" fmla="*/ 78372 w 108264"/>
                  <a:gd name="connsiteY21" fmla="*/ 103493 h 104605"/>
                  <a:gd name="connsiteX22" fmla="*/ 87345 w 108264"/>
                  <a:gd name="connsiteY22" fmla="*/ 102845 h 104605"/>
                  <a:gd name="connsiteX23" fmla="*/ 52353 w 108264"/>
                  <a:gd name="connsiteY23" fmla="*/ 80179 h 104605"/>
                  <a:gd name="connsiteX24" fmla="*/ 28734 w 108264"/>
                  <a:gd name="connsiteY24" fmla="*/ 92210 h 104605"/>
                  <a:gd name="connsiteX25" fmla="*/ 33126 w 108264"/>
                  <a:gd name="connsiteY25" fmla="*/ 66337 h 104605"/>
                  <a:gd name="connsiteX26" fmla="*/ 31603 w 108264"/>
                  <a:gd name="connsiteY26" fmla="*/ 61614 h 104605"/>
                  <a:gd name="connsiteX27" fmla="*/ 13073 w 108264"/>
                  <a:gd name="connsiteY27" fmla="*/ 43416 h 104605"/>
                  <a:gd name="connsiteX28" fmla="*/ 38691 w 108264"/>
                  <a:gd name="connsiteY28" fmla="*/ 39668 h 104605"/>
                  <a:gd name="connsiteX29" fmla="*/ 42686 w 108264"/>
                  <a:gd name="connsiteY29" fmla="*/ 36742 h 104605"/>
                  <a:gd name="connsiteX30" fmla="*/ 54131 w 108264"/>
                  <a:gd name="connsiteY30" fmla="*/ 13378 h 104605"/>
                  <a:gd name="connsiteX31" fmla="*/ 65572 w 108264"/>
                  <a:gd name="connsiteY31" fmla="*/ 36742 h 104605"/>
                  <a:gd name="connsiteX32" fmla="*/ 69567 w 108264"/>
                  <a:gd name="connsiteY32" fmla="*/ 39668 h 104605"/>
                  <a:gd name="connsiteX33" fmla="*/ 95196 w 108264"/>
                  <a:gd name="connsiteY33" fmla="*/ 43416 h 104605"/>
                  <a:gd name="connsiteX34" fmla="*/ 76670 w 108264"/>
                  <a:gd name="connsiteY34" fmla="*/ 61614 h 104605"/>
                  <a:gd name="connsiteX35" fmla="*/ 75146 w 108264"/>
                  <a:gd name="connsiteY35" fmla="*/ 66341 h 104605"/>
                  <a:gd name="connsiteX36" fmla="*/ 79513 w 108264"/>
                  <a:gd name="connsiteY36" fmla="*/ 92020 h 104605"/>
                  <a:gd name="connsiteX37" fmla="*/ 57214 w 108264"/>
                  <a:gd name="connsiteY37" fmla="*/ 80215 h 104605"/>
                  <a:gd name="connsiteX38" fmla="*/ 52353 w 108264"/>
                  <a:gd name="connsiteY38" fmla="*/ 80179 h 104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08264" h="104605">
                    <a:moveTo>
                      <a:pt x="87345" y="102845"/>
                    </a:moveTo>
                    <a:cubicBezTo>
                      <a:pt x="89981" y="100912"/>
                      <a:pt x="91272" y="97700"/>
                      <a:pt x="90707" y="94482"/>
                    </a:cubicBezTo>
                    <a:lnTo>
                      <a:pt x="86086" y="67306"/>
                    </a:lnTo>
                    <a:lnTo>
                      <a:pt x="105693" y="48046"/>
                    </a:lnTo>
                    <a:cubicBezTo>
                      <a:pt x="108021" y="45763"/>
                      <a:pt x="108847" y="42412"/>
                      <a:pt x="107846" y="39294"/>
                    </a:cubicBezTo>
                    <a:cubicBezTo>
                      <a:pt x="106841" y="36173"/>
                      <a:pt x="104212" y="33941"/>
                      <a:pt x="100986" y="33466"/>
                    </a:cubicBezTo>
                    <a:lnTo>
                      <a:pt x="73862" y="29498"/>
                    </a:lnTo>
                    <a:lnTo>
                      <a:pt x="61738" y="4741"/>
                    </a:lnTo>
                    <a:cubicBezTo>
                      <a:pt x="60282" y="1814"/>
                      <a:pt x="57364" y="0"/>
                      <a:pt x="54120" y="0"/>
                    </a:cubicBezTo>
                    <a:cubicBezTo>
                      <a:pt x="54109" y="0"/>
                      <a:pt x="54095" y="0"/>
                      <a:pt x="54084" y="0"/>
                    </a:cubicBezTo>
                    <a:cubicBezTo>
                      <a:pt x="50837" y="14"/>
                      <a:pt x="47933" y="1843"/>
                      <a:pt x="46506" y="4774"/>
                    </a:cubicBezTo>
                    <a:lnTo>
                      <a:pt x="34396" y="29498"/>
                    </a:lnTo>
                    <a:lnTo>
                      <a:pt x="7283" y="33466"/>
                    </a:lnTo>
                    <a:cubicBezTo>
                      <a:pt x="4049" y="33941"/>
                      <a:pt x="1417" y="36180"/>
                      <a:pt x="416" y="39312"/>
                    </a:cubicBezTo>
                    <a:cubicBezTo>
                      <a:pt x="-582" y="42430"/>
                      <a:pt x="248" y="45781"/>
                      <a:pt x="2569" y="48038"/>
                    </a:cubicBezTo>
                    <a:lnTo>
                      <a:pt x="22186" y="67306"/>
                    </a:lnTo>
                    <a:lnTo>
                      <a:pt x="17551" y="94597"/>
                    </a:lnTo>
                    <a:cubicBezTo>
                      <a:pt x="17000" y="97805"/>
                      <a:pt x="18269" y="100998"/>
                      <a:pt x="20870" y="102928"/>
                    </a:cubicBezTo>
                    <a:cubicBezTo>
                      <a:pt x="22365" y="104040"/>
                      <a:pt x="24128" y="104605"/>
                      <a:pt x="25898" y="104605"/>
                    </a:cubicBezTo>
                    <a:cubicBezTo>
                      <a:pt x="27207" y="104605"/>
                      <a:pt x="28520" y="104299"/>
                      <a:pt x="29736" y="103676"/>
                    </a:cubicBezTo>
                    <a:lnTo>
                      <a:pt x="54696" y="90961"/>
                    </a:lnTo>
                    <a:lnTo>
                      <a:pt x="78372" y="103493"/>
                    </a:lnTo>
                    <a:cubicBezTo>
                      <a:pt x="81265" y="105030"/>
                      <a:pt x="84706" y="104782"/>
                      <a:pt x="87345" y="102845"/>
                    </a:cubicBezTo>
                    <a:close/>
                    <a:moveTo>
                      <a:pt x="52353" y="80179"/>
                    </a:moveTo>
                    <a:lnTo>
                      <a:pt x="28734" y="92210"/>
                    </a:lnTo>
                    <a:lnTo>
                      <a:pt x="33126" y="66337"/>
                    </a:lnTo>
                    <a:cubicBezTo>
                      <a:pt x="33423" y="64606"/>
                      <a:pt x="32851" y="62838"/>
                      <a:pt x="31603" y="61614"/>
                    </a:cubicBezTo>
                    <a:lnTo>
                      <a:pt x="13073" y="43416"/>
                    </a:lnTo>
                    <a:lnTo>
                      <a:pt x="38691" y="39668"/>
                    </a:lnTo>
                    <a:cubicBezTo>
                      <a:pt x="40419" y="39416"/>
                      <a:pt x="41914" y="38318"/>
                      <a:pt x="42686" y="36742"/>
                    </a:cubicBezTo>
                    <a:lnTo>
                      <a:pt x="54131" y="13378"/>
                    </a:lnTo>
                    <a:lnTo>
                      <a:pt x="65572" y="36742"/>
                    </a:lnTo>
                    <a:cubicBezTo>
                      <a:pt x="66344" y="38318"/>
                      <a:pt x="67839" y="39416"/>
                      <a:pt x="69567" y="39668"/>
                    </a:cubicBezTo>
                    <a:lnTo>
                      <a:pt x="95196" y="43416"/>
                    </a:lnTo>
                    <a:lnTo>
                      <a:pt x="76670" y="61614"/>
                    </a:lnTo>
                    <a:cubicBezTo>
                      <a:pt x="75421" y="62842"/>
                      <a:pt x="74849" y="64609"/>
                      <a:pt x="75146" y="66341"/>
                    </a:cubicBezTo>
                    <a:lnTo>
                      <a:pt x="79513" y="92020"/>
                    </a:lnTo>
                    <a:lnTo>
                      <a:pt x="57214" y="80215"/>
                    </a:lnTo>
                    <a:cubicBezTo>
                      <a:pt x="55704" y="79412"/>
                      <a:pt x="53884" y="79402"/>
                      <a:pt x="52353" y="80179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Рисунок 42">
                <a:extLst>
                  <a:ext uri="{FF2B5EF4-FFF2-40B4-BE49-F238E27FC236}">
                    <a16:creationId xmlns:a16="http://schemas.microsoft.com/office/drawing/2014/main" id="{0D28796E-A35B-4771-B2E0-1B7E5A82A3E5}"/>
                  </a:ext>
                </a:extLst>
              </p:cNvPr>
              <p:cNvSpPr/>
              <p:nvPr/>
            </p:nvSpPr>
            <p:spPr>
              <a:xfrm>
                <a:off x="2074710" y="3662289"/>
                <a:ext cx="108278" cy="104619"/>
              </a:xfrm>
              <a:custGeom>
                <a:avLst/>
                <a:gdLst>
                  <a:gd name="connsiteX0" fmla="*/ 107864 w 108278"/>
                  <a:gd name="connsiteY0" fmla="*/ 39305 h 104619"/>
                  <a:gd name="connsiteX1" fmla="*/ 101001 w 108278"/>
                  <a:gd name="connsiteY1" fmla="*/ 33466 h 104619"/>
                  <a:gd name="connsiteX2" fmla="*/ 73873 w 108278"/>
                  <a:gd name="connsiteY2" fmla="*/ 29498 h 104619"/>
                  <a:gd name="connsiteX3" fmla="*/ 61745 w 108278"/>
                  <a:gd name="connsiteY3" fmla="*/ 4759 h 104619"/>
                  <a:gd name="connsiteX4" fmla="*/ 54131 w 108278"/>
                  <a:gd name="connsiteY4" fmla="*/ 0 h 104619"/>
                  <a:gd name="connsiteX5" fmla="*/ 54109 w 108278"/>
                  <a:gd name="connsiteY5" fmla="*/ 0 h 104619"/>
                  <a:gd name="connsiteX6" fmla="*/ 46517 w 108278"/>
                  <a:gd name="connsiteY6" fmla="*/ 4774 h 104619"/>
                  <a:gd name="connsiteX7" fmla="*/ 34407 w 108278"/>
                  <a:gd name="connsiteY7" fmla="*/ 29498 h 104619"/>
                  <a:gd name="connsiteX8" fmla="*/ 7283 w 108278"/>
                  <a:gd name="connsiteY8" fmla="*/ 33469 h 104619"/>
                  <a:gd name="connsiteX9" fmla="*/ 405 w 108278"/>
                  <a:gd name="connsiteY9" fmla="*/ 39337 h 104619"/>
                  <a:gd name="connsiteX10" fmla="*/ 2580 w 108278"/>
                  <a:gd name="connsiteY10" fmla="*/ 48028 h 104619"/>
                  <a:gd name="connsiteX11" fmla="*/ 22193 w 108278"/>
                  <a:gd name="connsiteY11" fmla="*/ 67309 h 104619"/>
                  <a:gd name="connsiteX12" fmla="*/ 17540 w 108278"/>
                  <a:gd name="connsiteY12" fmla="*/ 94633 h 104619"/>
                  <a:gd name="connsiteX13" fmla="*/ 20906 w 108278"/>
                  <a:gd name="connsiteY13" fmla="*/ 102967 h 104619"/>
                  <a:gd name="connsiteX14" fmla="*/ 25902 w 108278"/>
                  <a:gd name="connsiteY14" fmla="*/ 104620 h 104619"/>
                  <a:gd name="connsiteX15" fmla="*/ 29739 w 108278"/>
                  <a:gd name="connsiteY15" fmla="*/ 103684 h 104619"/>
                  <a:gd name="connsiteX16" fmla="*/ 54700 w 108278"/>
                  <a:gd name="connsiteY16" fmla="*/ 90983 h 104619"/>
                  <a:gd name="connsiteX17" fmla="*/ 78394 w 108278"/>
                  <a:gd name="connsiteY17" fmla="*/ 103532 h 104619"/>
                  <a:gd name="connsiteX18" fmla="*/ 87367 w 108278"/>
                  <a:gd name="connsiteY18" fmla="*/ 102838 h 104619"/>
                  <a:gd name="connsiteX19" fmla="*/ 90711 w 108278"/>
                  <a:gd name="connsiteY19" fmla="*/ 94489 h 104619"/>
                  <a:gd name="connsiteX20" fmla="*/ 86076 w 108278"/>
                  <a:gd name="connsiteY20" fmla="*/ 67313 h 104619"/>
                  <a:gd name="connsiteX21" fmla="*/ 105682 w 108278"/>
                  <a:gd name="connsiteY21" fmla="*/ 48049 h 104619"/>
                  <a:gd name="connsiteX22" fmla="*/ 107864 w 108278"/>
                  <a:gd name="connsiteY22" fmla="*/ 39305 h 104619"/>
                  <a:gd name="connsiteX23" fmla="*/ 76673 w 108278"/>
                  <a:gd name="connsiteY23" fmla="*/ 61614 h 104619"/>
                  <a:gd name="connsiteX24" fmla="*/ 75150 w 108278"/>
                  <a:gd name="connsiteY24" fmla="*/ 66341 h 104619"/>
                  <a:gd name="connsiteX25" fmla="*/ 79535 w 108278"/>
                  <a:gd name="connsiteY25" fmla="*/ 92041 h 104619"/>
                  <a:gd name="connsiteX26" fmla="*/ 57235 w 108278"/>
                  <a:gd name="connsiteY26" fmla="*/ 80230 h 104619"/>
                  <a:gd name="connsiteX27" fmla="*/ 52368 w 108278"/>
                  <a:gd name="connsiteY27" fmla="*/ 80190 h 104619"/>
                  <a:gd name="connsiteX28" fmla="*/ 28734 w 108278"/>
                  <a:gd name="connsiteY28" fmla="*/ 92218 h 104619"/>
                  <a:gd name="connsiteX29" fmla="*/ 33137 w 108278"/>
                  <a:gd name="connsiteY29" fmla="*/ 66341 h 104619"/>
                  <a:gd name="connsiteX30" fmla="*/ 31613 w 108278"/>
                  <a:gd name="connsiteY30" fmla="*/ 61614 h 104619"/>
                  <a:gd name="connsiteX31" fmla="*/ 13095 w 108278"/>
                  <a:gd name="connsiteY31" fmla="*/ 43412 h 104619"/>
                  <a:gd name="connsiteX32" fmla="*/ 38702 w 108278"/>
                  <a:gd name="connsiteY32" fmla="*/ 39668 h 104619"/>
                  <a:gd name="connsiteX33" fmla="*/ 42697 w 108278"/>
                  <a:gd name="connsiteY33" fmla="*/ 36742 h 104619"/>
                  <a:gd name="connsiteX34" fmla="*/ 54135 w 108278"/>
                  <a:gd name="connsiteY34" fmla="*/ 13385 h 104619"/>
                  <a:gd name="connsiteX35" fmla="*/ 65586 w 108278"/>
                  <a:gd name="connsiteY35" fmla="*/ 36742 h 104619"/>
                  <a:gd name="connsiteX36" fmla="*/ 69581 w 108278"/>
                  <a:gd name="connsiteY36" fmla="*/ 39665 h 104619"/>
                  <a:gd name="connsiteX37" fmla="*/ 95200 w 108278"/>
                  <a:gd name="connsiteY37" fmla="*/ 43412 h 104619"/>
                  <a:gd name="connsiteX38" fmla="*/ 76673 w 108278"/>
                  <a:gd name="connsiteY38" fmla="*/ 61614 h 104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08278" h="104619">
                    <a:moveTo>
                      <a:pt x="107864" y="39305"/>
                    </a:moveTo>
                    <a:cubicBezTo>
                      <a:pt x="106862" y="36176"/>
                      <a:pt x="104230" y="33941"/>
                      <a:pt x="101001" y="33466"/>
                    </a:cubicBezTo>
                    <a:lnTo>
                      <a:pt x="73873" y="29498"/>
                    </a:lnTo>
                    <a:lnTo>
                      <a:pt x="61745" y="4759"/>
                    </a:lnTo>
                    <a:cubicBezTo>
                      <a:pt x="60300" y="1822"/>
                      <a:pt x="57382" y="0"/>
                      <a:pt x="54131" y="0"/>
                    </a:cubicBezTo>
                    <a:cubicBezTo>
                      <a:pt x="54124" y="0"/>
                      <a:pt x="54117" y="0"/>
                      <a:pt x="54109" y="0"/>
                    </a:cubicBezTo>
                    <a:cubicBezTo>
                      <a:pt x="50858" y="7"/>
                      <a:pt x="47947" y="1836"/>
                      <a:pt x="46517" y="4774"/>
                    </a:cubicBezTo>
                    <a:lnTo>
                      <a:pt x="34407" y="29498"/>
                    </a:lnTo>
                    <a:lnTo>
                      <a:pt x="7283" y="33469"/>
                    </a:lnTo>
                    <a:cubicBezTo>
                      <a:pt x="4035" y="33944"/>
                      <a:pt x="1399" y="36194"/>
                      <a:pt x="405" y="39337"/>
                    </a:cubicBezTo>
                    <a:cubicBezTo>
                      <a:pt x="-582" y="42466"/>
                      <a:pt x="269" y="45810"/>
                      <a:pt x="2580" y="48028"/>
                    </a:cubicBezTo>
                    <a:lnTo>
                      <a:pt x="22193" y="67309"/>
                    </a:lnTo>
                    <a:lnTo>
                      <a:pt x="17540" y="94633"/>
                    </a:lnTo>
                    <a:cubicBezTo>
                      <a:pt x="17004" y="97852"/>
                      <a:pt x="18295" y="101045"/>
                      <a:pt x="20906" y="102967"/>
                    </a:cubicBezTo>
                    <a:cubicBezTo>
                      <a:pt x="22397" y="104065"/>
                      <a:pt x="24146" y="104620"/>
                      <a:pt x="25902" y="104620"/>
                    </a:cubicBezTo>
                    <a:cubicBezTo>
                      <a:pt x="27211" y="104620"/>
                      <a:pt x="28527" y="104310"/>
                      <a:pt x="29739" y="103684"/>
                    </a:cubicBezTo>
                    <a:lnTo>
                      <a:pt x="54700" y="90983"/>
                    </a:lnTo>
                    <a:lnTo>
                      <a:pt x="78394" y="103532"/>
                    </a:lnTo>
                    <a:cubicBezTo>
                      <a:pt x="81298" y="105044"/>
                      <a:pt x="84731" y="104782"/>
                      <a:pt x="87367" y="102838"/>
                    </a:cubicBezTo>
                    <a:cubicBezTo>
                      <a:pt x="89989" y="100901"/>
                      <a:pt x="91269" y="97693"/>
                      <a:pt x="90711" y="94489"/>
                    </a:cubicBezTo>
                    <a:lnTo>
                      <a:pt x="86076" y="67313"/>
                    </a:lnTo>
                    <a:lnTo>
                      <a:pt x="105682" y="48049"/>
                    </a:lnTo>
                    <a:cubicBezTo>
                      <a:pt x="108032" y="45767"/>
                      <a:pt x="108862" y="42422"/>
                      <a:pt x="107864" y="39305"/>
                    </a:cubicBezTo>
                    <a:close/>
                    <a:moveTo>
                      <a:pt x="76673" y="61614"/>
                    </a:moveTo>
                    <a:cubicBezTo>
                      <a:pt x="75422" y="62842"/>
                      <a:pt x="74853" y="64613"/>
                      <a:pt x="75150" y="66341"/>
                    </a:cubicBezTo>
                    <a:lnTo>
                      <a:pt x="79535" y="92041"/>
                    </a:lnTo>
                    <a:lnTo>
                      <a:pt x="57235" y="80230"/>
                    </a:lnTo>
                    <a:cubicBezTo>
                      <a:pt x="55712" y="79423"/>
                      <a:pt x="53902" y="79409"/>
                      <a:pt x="52368" y="80190"/>
                    </a:cubicBezTo>
                    <a:lnTo>
                      <a:pt x="28734" y="92218"/>
                    </a:lnTo>
                    <a:lnTo>
                      <a:pt x="33137" y="66341"/>
                    </a:lnTo>
                    <a:cubicBezTo>
                      <a:pt x="33434" y="64609"/>
                      <a:pt x="32865" y="62842"/>
                      <a:pt x="31613" y="61614"/>
                    </a:cubicBezTo>
                    <a:lnTo>
                      <a:pt x="13095" y="43412"/>
                    </a:lnTo>
                    <a:lnTo>
                      <a:pt x="38702" y="39668"/>
                    </a:lnTo>
                    <a:cubicBezTo>
                      <a:pt x="40429" y="39416"/>
                      <a:pt x="41924" y="38318"/>
                      <a:pt x="42697" y="36742"/>
                    </a:cubicBezTo>
                    <a:lnTo>
                      <a:pt x="54135" y="13385"/>
                    </a:lnTo>
                    <a:lnTo>
                      <a:pt x="65586" y="36742"/>
                    </a:lnTo>
                    <a:cubicBezTo>
                      <a:pt x="66359" y="38318"/>
                      <a:pt x="67854" y="39413"/>
                      <a:pt x="69581" y="39665"/>
                    </a:cubicBezTo>
                    <a:lnTo>
                      <a:pt x="95200" y="43412"/>
                    </a:lnTo>
                    <a:lnTo>
                      <a:pt x="76673" y="61614"/>
                    </a:lnTo>
                    <a:close/>
                  </a:path>
                </a:pathLst>
              </a:custGeom>
              <a:solidFill>
                <a:srgbClr val="231F20"/>
              </a:solidFill>
              <a:ln w="35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Рисунок 42">
                <a:extLst>
                  <a:ext uri="{FF2B5EF4-FFF2-40B4-BE49-F238E27FC236}">
                    <a16:creationId xmlns:a16="http://schemas.microsoft.com/office/drawing/2014/main" id="{2DBAF6A6-8C38-4B72-AC49-56198A09EC34}"/>
                  </a:ext>
                </a:extLst>
              </p:cNvPr>
              <p:cNvSpPr/>
              <p:nvPr/>
            </p:nvSpPr>
            <p:spPr>
              <a:xfrm>
                <a:off x="1831009" y="3662066"/>
                <a:ext cx="108266" cy="104601"/>
              </a:xfrm>
              <a:custGeom>
                <a:avLst/>
                <a:gdLst>
                  <a:gd name="connsiteX0" fmla="*/ 87346 w 108266"/>
                  <a:gd name="connsiteY0" fmla="*/ 102845 h 104601"/>
                  <a:gd name="connsiteX1" fmla="*/ 90704 w 108266"/>
                  <a:gd name="connsiteY1" fmla="*/ 94486 h 104601"/>
                  <a:gd name="connsiteX2" fmla="*/ 86084 w 108266"/>
                  <a:gd name="connsiteY2" fmla="*/ 67309 h 104601"/>
                  <a:gd name="connsiteX3" fmla="*/ 105690 w 108266"/>
                  <a:gd name="connsiteY3" fmla="*/ 48049 h 104601"/>
                  <a:gd name="connsiteX4" fmla="*/ 107846 w 108266"/>
                  <a:gd name="connsiteY4" fmla="*/ 39287 h 104601"/>
                  <a:gd name="connsiteX5" fmla="*/ 101001 w 108266"/>
                  <a:gd name="connsiteY5" fmla="*/ 33466 h 104601"/>
                  <a:gd name="connsiteX6" fmla="*/ 73870 w 108266"/>
                  <a:gd name="connsiteY6" fmla="*/ 29498 h 104601"/>
                  <a:gd name="connsiteX7" fmla="*/ 61735 w 108266"/>
                  <a:gd name="connsiteY7" fmla="*/ 4741 h 104601"/>
                  <a:gd name="connsiteX8" fmla="*/ 54121 w 108266"/>
                  <a:gd name="connsiteY8" fmla="*/ 0 h 104601"/>
                  <a:gd name="connsiteX9" fmla="*/ 54099 w 108266"/>
                  <a:gd name="connsiteY9" fmla="*/ 0 h 104601"/>
                  <a:gd name="connsiteX10" fmla="*/ 46506 w 108266"/>
                  <a:gd name="connsiteY10" fmla="*/ 4763 h 104601"/>
                  <a:gd name="connsiteX11" fmla="*/ 46506 w 108266"/>
                  <a:gd name="connsiteY11" fmla="*/ 4766 h 104601"/>
                  <a:gd name="connsiteX12" fmla="*/ 34393 w 108266"/>
                  <a:gd name="connsiteY12" fmla="*/ 29498 h 104601"/>
                  <a:gd name="connsiteX13" fmla="*/ 7280 w 108266"/>
                  <a:gd name="connsiteY13" fmla="*/ 33466 h 104601"/>
                  <a:gd name="connsiteX14" fmla="*/ 409 w 108266"/>
                  <a:gd name="connsiteY14" fmla="*/ 39319 h 104601"/>
                  <a:gd name="connsiteX15" fmla="*/ 2577 w 108266"/>
                  <a:gd name="connsiteY15" fmla="*/ 48035 h 104601"/>
                  <a:gd name="connsiteX16" fmla="*/ 22194 w 108266"/>
                  <a:gd name="connsiteY16" fmla="*/ 67302 h 104601"/>
                  <a:gd name="connsiteX17" fmla="*/ 17544 w 108266"/>
                  <a:gd name="connsiteY17" fmla="*/ 94594 h 104601"/>
                  <a:gd name="connsiteX18" fmla="*/ 20867 w 108266"/>
                  <a:gd name="connsiteY18" fmla="*/ 102920 h 104601"/>
                  <a:gd name="connsiteX19" fmla="*/ 25906 w 108266"/>
                  <a:gd name="connsiteY19" fmla="*/ 104602 h 104601"/>
                  <a:gd name="connsiteX20" fmla="*/ 29743 w 108266"/>
                  <a:gd name="connsiteY20" fmla="*/ 103673 h 104601"/>
                  <a:gd name="connsiteX21" fmla="*/ 54704 w 108266"/>
                  <a:gd name="connsiteY21" fmla="*/ 90958 h 104601"/>
                  <a:gd name="connsiteX22" fmla="*/ 78366 w 108266"/>
                  <a:gd name="connsiteY22" fmla="*/ 103489 h 104601"/>
                  <a:gd name="connsiteX23" fmla="*/ 87346 w 108266"/>
                  <a:gd name="connsiteY23" fmla="*/ 102845 h 104601"/>
                  <a:gd name="connsiteX24" fmla="*/ 52365 w 108266"/>
                  <a:gd name="connsiteY24" fmla="*/ 80183 h 104601"/>
                  <a:gd name="connsiteX25" fmla="*/ 28735 w 108266"/>
                  <a:gd name="connsiteY25" fmla="*/ 92221 h 104601"/>
                  <a:gd name="connsiteX26" fmla="*/ 33138 w 108266"/>
                  <a:gd name="connsiteY26" fmla="*/ 66344 h 104601"/>
                  <a:gd name="connsiteX27" fmla="*/ 31614 w 108266"/>
                  <a:gd name="connsiteY27" fmla="*/ 61618 h 104601"/>
                  <a:gd name="connsiteX28" fmla="*/ 13081 w 108266"/>
                  <a:gd name="connsiteY28" fmla="*/ 43420 h 104601"/>
                  <a:gd name="connsiteX29" fmla="*/ 38688 w 108266"/>
                  <a:gd name="connsiteY29" fmla="*/ 39672 h 104601"/>
                  <a:gd name="connsiteX30" fmla="*/ 42683 w 108266"/>
                  <a:gd name="connsiteY30" fmla="*/ 36745 h 104601"/>
                  <a:gd name="connsiteX31" fmla="*/ 54128 w 108266"/>
                  <a:gd name="connsiteY31" fmla="*/ 13378 h 104601"/>
                  <a:gd name="connsiteX32" fmla="*/ 65583 w 108266"/>
                  <a:gd name="connsiteY32" fmla="*/ 36745 h 104601"/>
                  <a:gd name="connsiteX33" fmla="*/ 69578 w 108266"/>
                  <a:gd name="connsiteY33" fmla="*/ 39668 h 104601"/>
                  <a:gd name="connsiteX34" fmla="*/ 95196 w 108266"/>
                  <a:gd name="connsiteY34" fmla="*/ 43416 h 104601"/>
                  <a:gd name="connsiteX35" fmla="*/ 76667 w 108266"/>
                  <a:gd name="connsiteY35" fmla="*/ 61614 h 104601"/>
                  <a:gd name="connsiteX36" fmla="*/ 75143 w 108266"/>
                  <a:gd name="connsiteY36" fmla="*/ 66341 h 104601"/>
                  <a:gd name="connsiteX37" fmla="*/ 79510 w 108266"/>
                  <a:gd name="connsiteY37" fmla="*/ 92020 h 104601"/>
                  <a:gd name="connsiteX38" fmla="*/ 57229 w 108266"/>
                  <a:gd name="connsiteY38" fmla="*/ 80219 h 104601"/>
                  <a:gd name="connsiteX39" fmla="*/ 52365 w 108266"/>
                  <a:gd name="connsiteY39" fmla="*/ 80183 h 10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8266" h="104601">
                    <a:moveTo>
                      <a:pt x="87346" y="102845"/>
                    </a:moveTo>
                    <a:cubicBezTo>
                      <a:pt x="89986" y="100908"/>
                      <a:pt x="91273" y="97697"/>
                      <a:pt x="90704" y="94486"/>
                    </a:cubicBezTo>
                    <a:lnTo>
                      <a:pt x="86084" y="67309"/>
                    </a:lnTo>
                    <a:lnTo>
                      <a:pt x="105690" y="48049"/>
                    </a:lnTo>
                    <a:cubicBezTo>
                      <a:pt x="108022" y="45763"/>
                      <a:pt x="108851" y="42408"/>
                      <a:pt x="107846" y="39287"/>
                    </a:cubicBezTo>
                    <a:cubicBezTo>
                      <a:pt x="106845" y="36169"/>
                      <a:pt x="104220" y="33941"/>
                      <a:pt x="101001" y="33466"/>
                    </a:cubicBezTo>
                    <a:lnTo>
                      <a:pt x="73870" y="29498"/>
                    </a:lnTo>
                    <a:lnTo>
                      <a:pt x="61735" y="4741"/>
                    </a:lnTo>
                    <a:cubicBezTo>
                      <a:pt x="60279" y="1818"/>
                      <a:pt x="57365" y="0"/>
                      <a:pt x="54121" y="0"/>
                    </a:cubicBezTo>
                    <a:cubicBezTo>
                      <a:pt x="54114" y="0"/>
                      <a:pt x="54106" y="0"/>
                      <a:pt x="54099" y="0"/>
                    </a:cubicBezTo>
                    <a:cubicBezTo>
                      <a:pt x="50855" y="7"/>
                      <a:pt x="47944" y="1832"/>
                      <a:pt x="46506" y="4763"/>
                    </a:cubicBezTo>
                    <a:lnTo>
                      <a:pt x="46506" y="4766"/>
                    </a:lnTo>
                    <a:lnTo>
                      <a:pt x="34393" y="29498"/>
                    </a:lnTo>
                    <a:lnTo>
                      <a:pt x="7280" y="33466"/>
                    </a:lnTo>
                    <a:cubicBezTo>
                      <a:pt x="4039" y="33941"/>
                      <a:pt x="1407" y="36184"/>
                      <a:pt x="409" y="39319"/>
                    </a:cubicBezTo>
                    <a:cubicBezTo>
                      <a:pt x="-581" y="42444"/>
                      <a:pt x="259" y="45796"/>
                      <a:pt x="2577" y="48035"/>
                    </a:cubicBezTo>
                    <a:lnTo>
                      <a:pt x="22194" y="67302"/>
                    </a:lnTo>
                    <a:lnTo>
                      <a:pt x="17544" y="94594"/>
                    </a:lnTo>
                    <a:cubicBezTo>
                      <a:pt x="16993" y="97798"/>
                      <a:pt x="18263" y="100987"/>
                      <a:pt x="20867" y="102920"/>
                    </a:cubicBezTo>
                    <a:cubicBezTo>
                      <a:pt x="22365" y="104036"/>
                      <a:pt x="24128" y="104602"/>
                      <a:pt x="25906" y="104602"/>
                    </a:cubicBezTo>
                    <a:cubicBezTo>
                      <a:pt x="27211" y="104602"/>
                      <a:pt x="28527" y="104296"/>
                      <a:pt x="29743" y="103673"/>
                    </a:cubicBezTo>
                    <a:lnTo>
                      <a:pt x="54704" y="90958"/>
                    </a:lnTo>
                    <a:lnTo>
                      <a:pt x="78366" y="103489"/>
                    </a:lnTo>
                    <a:cubicBezTo>
                      <a:pt x="81273" y="105037"/>
                      <a:pt x="84710" y="104785"/>
                      <a:pt x="87346" y="102845"/>
                    </a:cubicBezTo>
                    <a:close/>
                    <a:moveTo>
                      <a:pt x="52365" y="80183"/>
                    </a:moveTo>
                    <a:lnTo>
                      <a:pt x="28735" y="92221"/>
                    </a:lnTo>
                    <a:lnTo>
                      <a:pt x="33138" y="66344"/>
                    </a:lnTo>
                    <a:cubicBezTo>
                      <a:pt x="33434" y="64613"/>
                      <a:pt x="32862" y="62842"/>
                      <a:pt x="31614" y="61618"/>
                    </a:cubicBezTo>
                    <a:lnTo>
                      <a:pt x="13081" y="43420"/>
                    </a:lnTo>
                    <a:lnTo>
                      <a:pt x="38688" y="39672"/>
                    </a:lnTo>
                    <a:cubicBezTo>
                      <a:pt x="40416" y="39420"/>
                      <a:pt x="41911" y="38322"/>
                      <a:pt x="42683" y="36745"/>
                    </a:cubicBezTo>
                    <a:lnTo>
                      <a:pt x="54128" y="13378"/>
                    </a:lnTo>
                    <a:lnTo>
                      <a:pt x="65583" y="36745"/>
                    </a:lnTo>
                    <a:cubicBezTo>
                      <a:pt x="66356" y="38322"/>
                      <a:pt x="67851" y="39416"/>
                      <a:pt x="69578" y="39668"/>
                    </a:cubicBezTo>
                    <a:lnTo>
                      <a:pt x="95196" y="43416"/>
                    </a:lnTo>
                    <a:lnTo>
                      <a:pt x="76667" y="61614"/>
                    </a:lnTo>
                    <a:cubicBezTo>
                      <a:pt x="75419" y="62842"/>
                      <a:pt x="74846" y="64609"/>
                      <a:pt x="75143" y="66341"/>
                    </a:cubicBezTo>
                    <a:lnTo>
                      <a:pt x="79510" y="92020"/>
                    </a:lnTo>
                    <a:lnTo>
                      <a:pt x="57229" y="80219"/>
                    </a:lnTo>
                    <a:cubicBezTo>
                      <a:pt x="55712" y="79416"/>
                      <a:pt x="53895" y="79405"/>
                      <a:pt x="52365" y="80183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Рисунок 42">
                <a:extLst>
                  <a:ext uri="{FF2B5EF4-FFF2-40B4-BE49-F238E27FC236}">
                    <a16:creationId xmlns:a16="http://schemas.microsoft.com/office/drawing/2014/main" id="{7CF4040C-A2E4-4859-A59C-239FEBCBECF0}"/>
                  </a:ext>
                </a:extLst>
              </p:cNvPr>
              <p:cNvSpPr/>
              <p:nvPr/>
            </p:nvSpPr>
            <p:spPr>
              <a:xfrm>
                <a:off x="1891944" y="3784840"/>
                <a:ext cx="108263" cy="104594"/>
              </a:xfrm>
              <a:custGeom>
                <a:avLst/>
                <a:gdLst>
                  <a:gd name="connsiteX0" fmla="*/ 100987 w 108263"/>
                  <a:gd name="connsiteY0" fmla="*/ 33440 h 104594"/>
                  <a:gd name="connsiteX1" fmla="*/ 73864 w 108263"/>
                  <a:gd name="connsiteY1" fmla="*/ 29488 h 104594"/>
                  <a:gd name="connsiteX2" fmla="*/ 61732 w 108263"/>
                  <a:gd name="connsiteY2" fmla="*/ 4723 h 104594"/>
                  <a:gd name="connsiteX3" fmla="*/ 54125 w 108263"/>
                  <a:gd name="connsiteY3" fmla="*/ 0 h 104594"/>
                  <a:gd name="connsiteX4" fmla="*/ 54104 w 108263"/>
                  <a:gd name="connsiteY4" fmla="*/ 0 h 104594"/>
                  <a:gd name="connsiteX5" fmla="*/ 46518 w 108263"/>
                  <a:gd name="connsiteY5" fmla="*/ 4745 h 104594"/>
                  <a:gd name="connsiteX6" fmla="*/ 46511 w 108263"/>
                  <a:gd name="connsiteY6" fmla="*/ 4759 h 104594"/>
                  <a:gd name="connsiteX7" fmla="*/ 34397 w 108263"/>
                  <a:gd name="connsiteY7" fmla="*/ 29488 h 104594"/>
                  <a:gd name="connsiteX8" fmla="*/ 7252 w 108263"/>
                  <a:gd name="connsiteY8" fmla="*/ 33448 h 104594"/>
                  <a:gd name="connsiteX9" fmla="*/ 403 w 108263"/>
                  <a:gd name="connsiteY9" fmla="*/ 39337 h 104594"/>
                  <a:gd name="connsiteX10" fmla="*/ 2570 w 108263"/>
                  <a:gd name="connsiteY10" fmla="*/ 48020 h 104594"/>
                  <a:gd name="connsiteX11" fmla="*/ 22194 w 108263"/>
                  <a:gd name="connsiteY11" fmla="*/ 67288 h 104594"/>
                  <a:gd name="connsiteX12" fmla="*/ 17548 w 108263"/>
                  <a:gd name="connsiteY12" fmla="*/ 94586 h 104594"/>
                  <a:gd name="connsiteX13" fmla="*/ 20857 w 108263"/>
                  <a:gd name="connsiteY13" fmla="*/ 102910 h 104594"/>
                  <a:gd name="connsiteX14" fmla="*/ 25896 w 108263"/>
                  <a:gd name="connsiteY14" fmla="*/ 104594 h 104594"/>
                  <a:gd name="connsiteX15" fmla="*/ 29737 w 108263"/>
                  <a:gd name="connsiteY15" fmla="*/ 103669 h 104594"/>
                  <a:gd name="connsiteX16" fmla="*/ 54697 w 108263"/>
                  <a:gd name="connsiteY16" fmla="*/ 90943 h 104594"/>
                  <a:gd name="connsiteX17" fmla="*/ 78373 w 108263"/>
                  <a:gd name="connsiteY17" fmla="*/ 103475 h 104594"/>
                  <a:gd name="connsiteX18" fmla="*/ 87340 w 108263"/>
                  <a:gd name="connsiteY18" fmla="*/ 102827 h 104594"/>
                  <a:gd name="connsiteX19" fmla="*/ 90716 w 108263"/>
                  <a:gd name="connsiteY19" fmla="*/ 94471 h 104594"/>
                  <a:gd name="connsiteX20" fmla="*/ 86081 w 108263"/>
                  <a:gd name="connsiteY20" fmla="*/ 67280 h 104594"/>
                  <a:gd name="connsiteX21" fmla="*/ 105676 w 108263"/>
                  <a:gd name="connsiteY21" fmla="*/ 48035 h 104594"/>
                  <a:gd name="connsiteX22" fmla="*/ 107854 w 108263"/>
                  <a:gd name="connsiteY22" fmla="*/ 39312 h 104594"/>
                  <a:gd name="connsiteX23" fmla="*/ 100987 w 108263"/>
                  <a:gd name="connsiteY23" fmla="*/ 33440 h 104594"/>
                  <a:gd name="connsiteX24" fmla="*/ 76675 w 108263"/>
                  <a:gd name="connsiteY24" fmla="*/ 61592 h 104594"/>
                  <a:gd name="connsiteX25" fmla="*/ 75151 w 108263"/>
                  <a:gd name="connsiteY25" fmla="*/ 66319 h 104594"/>
                  <a:gd name="connsiteX26" fmla="*/ 79529 w 108263"/>
                  <a:gd name="connsiteY26" fmla="*/ 92005 h 104594"/>
                  <a:gd name="connsiteX27" fmla="*/ 57219 w 108263"/>
                  <a:gd name="connsiteY27" fmla="*/ 80197 h 104594"/>
                  <a:gd name="connsiteX28" fmla="*/ 52351 w 108263"/>
                  <a:gd name="connsiteY28" fmla="*/ 80161 h 104594"/>
                  <a:gd name="connsiteX29" fmla="*/ 28732 w 108263"/>
                  <a:gd name="connsiteY29" fmla="*/ 92200 h 104594"/>
                  <a:gd name="connsiteX30" fmla="*/ 33135 w 108263"/>
                  <a:gd name="connsiteY30" fmla="*/ 66319 h 104594"/>
                  <a:gd name="connsiteX31" fmla="*/ 31608 w 108263"/>
                  <a:gd name="connsiteY31" fmla="*/ 61592 h 104594"/>
                  <a:gd name="connsiteX32" fmla="*/ 13071 w 108263"/>
                  <a:gd name="connsiteY32" fmla="*/ 43394 h 104594"/>
                  <a:gd name="connsiteX33" fmla="*/ 38685 w 108263"/>
                  <a:gd name="connsiteY33" fmla="*/ 39658 h 104594"/>
                  <a:gd name="connsiteX34" fmla="*/ 42684 w 108263"/>
                  <a:gd name="connsiteY34" fmla="*/ 36731 h 104594"/>
                  <a:gd name="connsiteX35" fmla="*/ 54125 w 108263"/>
                  <a:gd name="connsiteY35" fmla="*/ 13367 h 104594"/>
                  <a:gd name="connsiteX36" fmla="*/ 65570 w 108263"/>
                  <a:gd name="connsiteY36" fmla="*/ 36731 h 104594"/>
                  <a:gd name="connsiteX37" fmla="*/ 69568 w 108263"/>
                  <a:gd name="connsiteY37" fmla="*/ 39658 h 104594"/>
                  <a:gd name="connsiteX38" fmla="*/ 95194 w 108263"/>
                  <a:gd name="connsiteY38" fmla="*/ 43394 h 104594"/>
                  <a:gd name="connsiteX39" fmla="*/ 76675 w 108263"/>
                  <a:gd name="connsiteY39" fmla="*/ 61592 h 10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8263" h="104594">
                    <a:moveTo>
                      <a:pt x="100987" y="33440"/>
                    </a:moveTo>
                    <a:lnTo>
                      <a:pt x="73864" y="29488"/>
                    </a:lnTo>
                    <a:lnTo>
                      <a:pt x="61732" y="4723"/>
                    </a:lnTo>
                    <a:cubicBezTo>
                      <a:pt x="60277" y="1807"/>
                      <a:pt x="57362" y="0"/>
                      <a:pt x="54125" y="0"/>
                    </a:cubicBezTo>
                    <a:cubicBezTo>
                      <a:pt x="54118" y="0"/>
                      <a:pt x="54111" y="0"/>
                      <a:pt x="54104" y="0"/>
                    </a:cubicBezTo>
                    <a:cubicBezTo>
                      <a:pt x="50863" y="7"/>
                      <a:pt x="47956" y="1825"/>
                      <a:pt x="46518" y="4745"/>
                    </a:cubicBezTo>
                    <a:cubicBezTo>
                      <a:pt x="46514" y="4748"/>
                      <a:pt x="46511" y="4752"/>
                      <a:pt x="46511" y="4759"/>
                    </a:cubicBezTo>
                    <a:lnTo>
                      <a:pt x="34397" y="29488"/>
                    </a:lnTo>
                    <a:lnTo>
                      <a:pt x="7252" y="33448"/>
                    </a:lnTo>
                    <a:cubicBezTo>
                      <a:pt x="4019" y="33941"/>
                      <a:pt x="1390" y="36198"/>
                      <a:pt x="403" y="39337"/>
                    </a:cubicBezTo>
                    <a:cubicBezTo>
                      <a:pt x="-577" y="42451"/>
                      <a:pt x="263" y="45788"/>
                      <a:pt x="2570" y="48020"/>
                    </a:cubicBezTo>
                    <a:lnTo>
                      <a:pt x="22194" y="67288"/>
                    </a:lnTo>
                    <a:lnTo>
                      <a:pt x="17548" y="94586"/>
                    </a:lnTo>
                    <a:cubicBezTo>
                      <a:pt x="17001" y="97790"/>
                      <a:pt x="18264" y="100976"/>
                      <a:pt x="20857" y="102910"/>
                    </a:cubicBezTo>
                    <a:cubicBezTo>
                      <a:pt x="22352" y="104026"/>
                      <a:pt x="24115" y="104594"/>
                      <a:pt x="25896" y="104594"/>
                    </a:cubicBezTo>
                    <a:cubicBezTo>
                      <a:pt x="27201" y="104594"/>
                      <a:pt x="28514" y="104288"/>
                      <a:pt x="29737" y="103669"/>
                    </a:cubicBezTo>
                    <a:lnTo>
                      <a:pt x="54697" y="90943"/>
                    </a:lnTo>
                    <a:lnTo>
                      <a:pt x="78373" y="103475"/>
                    </a:lnTo>
                    <a:cubicBezTo>
                      <a:pt x="81270" y="105001"/>
                      <a:pt x="84697" y="104760"/>
                      <a:pt x="87340" y="102827"/>
                    </a:cubicBezTo>
                    <a:cubicBezTo>
                      <a:pt x="89972" y="100901"/>
                      <a:pt x="91270" y="97697"/>
                      <a:pt x="90716" y="94471"/>
                    </a:cubicBezTo>
                    <a:lnTo>
                      <a:pt x="86081" y="67280"/>
                    </a:lnTo>
                    <a:lnTo>
                      <a:pt x="105676" y="48035"/>
                    </a:lnTo>
                    <a:cubicBezTo>
                      <a:pt x="108008" y="45767"/>
                      <a:pt x="108845" y="42426"/>
                      <a:pt x="107854" y="39312"/>
                    </a:cubicBezTo>
                    <a:cubicBezTo>
                      <a:pt x="106867" y="36187"/>
                      <a:pt x="104249" y="33937"/>
                      <a:pt x="100987" y="33440"/>
                    </a:cubicBezTo>
                    <a:close/>
                    <a:moveTo>
                      <a:pt x="76675" y="61592"/>
                    </a:moveTo>
                    <a:cubicBezTo>
                      <a:pt x="75423" y="62820"/>
                      <a:pt x="74854" y="64588"/>
                      <a:pt x="75151" y="66319"/>
                    </a:cubicBezTo>
                    <a:lnTo>
                      <a:pt x="79529" y="92005"/>
                    </a:lnTo>
                    <a:lnTo>
                      <a:pt x="57219" y="80197"/>
                    </a:lnTo>
                    <a:cubicBezTo>
                      <a:pt x="55702" y="79391"/>
                      <a:pt x="53885" y="79376"/>
                      <a:pt x="52351" y="80161"/>
                    </a:cubicBezTo>
                    <a:lnTo>
                      <a:pt x="28732" y="92200"/>
                    </a:lnTo>
                    <a:lnTo>
                      <a:pt x="33135" y="66319"/>
                    </a:lnTo>
                    <a:cubicBezTo>
                      <a:pt x="33432" y="64588"/>
                      <a:pt x="32859" y="62820"/>
                      <a:pt x="31608" y="61592"/>
                    </a:cubicBezTo>
                    <a:lnTo>
                      <a:pt x="13071" y="43394"/>
                    </a:lnTo>
                    <a:lnTo>
                      <a:pt x="38685" y="39658"/>
                    </a:lnTo>
                    <a:cubicBezTo>
                      <a:pt x="40416" y="39406"/>
                      <a:pt x="41911" y="38311"/>
                      <a:pt x="42684" y="36731"/>
                    </a:cubicBezTo>
                    <a:lnTo>
                      <a:pt x="54125" y="13367"/>
                    </a:lnTo>
                    <a:lnTo>
                      <a:pt x="65570" y="36731"/>
                    </a:lnTo>
                    <a:cubicBezTo>
                      <a:pt x="66342" y="38311"/>
                      <a:pt x="67837" y="39406"/>
                      <a:pt x="69568" y="39658"/>
                    </a:cubicBezTo>
                    <a:lnTo>
                      <a:pt x="95194" y="43394"/>
                    </a:lnTo>
                    <a:lnTo>
                      <a:pt x="76675" y="61592"/>
                    </a:lnTo>
                    <a:close/>
                  </a:path>
                </a:pathLst>
              </a:custGeom>
              <a:solidFill>
                <a:srgbClr val="231F20"/>
              </a:solidFill>
              <a:ln w="35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Рисунок 42">
                <a:extLst>
                  <a:ext uri="{FF2B5EF4-FFF2-40B4-BE49-F238E27FC236}">
                    <a16:creationId xmlns:a16="http://schemas.microsoft.com/office/drawing/2014/main" id="{EC33D3AC-4ADA-47AA-B643-C4B0AE98B2C5}"/>
                  </a:ext>
                </a:extLst>
              </p:cNvPr>
              <p:cNvSpPr/>
              <p:nvPr/>
            </p:nvSpPr>
            <p:spPr>
              <a:xfrm>
                <a:off x="2013797" y="3785042"/>
                <a:ext cx="108266" cy="104594"/>
              </a:xfrm>
              <a:custGeom>
                <a:avLst/>
                <a:gdLst>
                  <a:gd name="connsiteX0" fmla="*/ 100992 w 108266"/>
                  <a:gd name="connsiteY0" fmla="*/ 33458 h 104594"/>
                  <a:gd name="connsiteX1" fmla="*/ 73868 w 108266"/>
                  <a:gd name="connsiteY1" fmla="*/ 29491 h 104594"/>
                  <a:gd name="connsiteX2" fmla="*/ 61733 w 108266"/>
                  <a:gd name="connsiteY2" fmla="*/ 4720 h 104594"/>
                  <a:gd name="connsiteX3" fmla="*/ 54130 w 108266"/>
                  <a:gd name="connsiteY3" fmla="*/ 0 h 104594"/>
                  <a:gd name="connsiteX4" fmla="*/ 54108 w 108266"/>
                  <a:gd name="connsiteY4" fmla="*/ 0 h 104594"/>
                  <a:gd name="connsiteX5" fmla="*/ 46519 w 108266"/>
                  <a:gd name="connsiteY5" fmla="*/ 4738 h 104594"/>
                  <a:gd name="connsiteX6" fmla="*/ 46512 w 108266"/>
                  <a:gd name="connsiteY6" fmla="*/ 4759 h 104594"/>
                  <a:gd name="connsiteX7" fmla="*/ 34398 w 108266"/>
                  <a:gd name="connsiteY7" fmla="*/ 29488 h 104594"/>
                  <a:gd name="connsiteX8" fmla="*/ 7282 w 108266"/>
                  <a:gd name="connsiteY8" fmla="*/ 33455 h 104594"/>
                  <a:gd name="connsiteX9" fmla="*/ 418 w 108266"/>
                  <a:gd name="connsiteY9" fmla="*/ 39287 h 104594"/>
                  <a:gd name="connsiteX10" fmla="*/ 2579 w 108266"/>
                  <a:gd name="connsiteY10" fmla="*/ 48042 h 104594"/>
                  <a:gd name="connsiteX11" fmla="*/ 22188 w 108266"/>
                  <a:gd name="connsiteY11" fmla="*/ 67284 h 104594"/>
                  <a:gd name="connsiteX12" fmla="*/ 17553 w 108266"/>
                  <a:gd name="connsiteY12" fmla="*/ 94579 h 104594"/>
                  <a:gd name="connsiteX13" fmla="*/ 20851 w 108266"/>
                  <a:gd name="connsiteY13" fmla="*/ 102899 h 104594"/>
                  <a:gd name="connsiteX14" fmla="*/ 25908 w 108266"/>
                  <a:gd name="connsiteY14" fmla="*/ 104594 h 104594"/>
                  <a:gd name="connsiteX15" fmla="*/ 29742 w 108266"/>
                  <a:gd name="connsiteY15" fmla="*/ 103680 h 104594"/>
                  <a:gd name="connsiteX16" fmla="*/ 54702 w 108266"/>
                  <a:gd name="connsiteY16" fmla="*/ 90954 h 104594"/>
                  <a:gd name="connsiteX17" fmla="*/ 78375 w 108266"/>
                  <a:gd name="connsiteY17" fmla="*/ 103471 h 104594"/>
                  <a:gd name="connsiteX18" fmla="*/ 87348 w 108266"/>
                  <a:gd name="connsiteY18" fmla="*/ 102820 h 104594"/>
                  <a:gd name="connsiteX19" fmla="*/ 90706 w 108266"/>
                  <a:gd name="connsiteY19" fmla="*/ 94475 h 104594"/>
                  <a:gd name="connsiteX20" fmla="*/ 86082 w 108266"/>
                  <a:gd name="connsiteY20" fmla="*/ 67288 h 104594"/>
                  <a:gd name="connsiteX21" fmla="*/ 105702 w 108266"/>
                  <a:gd name="connsiteY21" fmla="*/ 48038 h 104594"/>
                  <a:gd name="connsiteX22" fmla="*/ 107845 w 108266"/>
                  <a:gd name="connsiteY22" fmla="*/ 39269 h 104594"/>
                  <a:gd name="connsiteX23" fmla="*/ 100992 w 108266"/>
                  <a:gd name="connsiteY23" fmla="*/ 33458 h 104594"/>
                  <a:gd name="connsiteX24" fmla="*/ 76679 w 108266"/>
                  <a:gd name="connsiteY24" fmla="*/ 61596 h 104594"/>
                  <a:gd name="connsiteX25" fmla="*/ 75152 w 108266"/>
                  <a:gd name="connsiteY25" fmla="*/ 66323 h 104594"/>
                  <a:gd name="connsiteX26" fmla="*/ 79523 w 108266"/>
                  <a:gd name="connsiteY26" fmla="*/ 92005 h 104594"/>
                  <a:gd name="connsiteX27" fmla="*/ 57223 w 108266"/>
                  <a:gd name="connsiteY27" fmla="*/ 80215 h 104594"/>
                  <a:gd name="connsiteX28" fmla="*/ 52356 w 108266"/>
                  <a:gd name="connsiteY28" fmla="*/ 80179 h 104594"/>
                  <a:gd name="connsiteX29" fmla="*/ 28733 w 108266"/>
                  <a:gd name="connsiteY29" fmla="*/ 92221 h 104594"/>
                  <a:gd name="connsiteX30" fmla="*/ 33129 w 108266"/>
                  <a:gd name="connsiteY30" fmla="*/ 66323 h 104594"/>
                  <a:gd name="connsiteX31" fmla="*/ 31602 w 108266"/>
                  <a:gd name="connsiteY31" fmla="*/ 61596 h 104594"/>
                  <a:gd name="connsiteX32" fmla="*/ 13068 w 108266"/>
                  <a:gd name="connsiteY32" fmla="*/ 43412 h 104594"/>
                  <a:gd name="connsiteX33" fmla="*/ 38694 w 108266"/>
                  <a:gd name="connsiteY33" fmla="*/ 39665 h 104594"/>
                  <a:gd name="connsiteX34" fmla="*/ 42689 w 108266"/>
                  <a:gd name="connsiteY34" fmla="*/ 36738 h 104594"/>
                  <a:gd name="connsiteX35" fmla="*/ 54133 w 108266"/>
                  <a:gd name="connsiteY35" fmla="*/ 13370 h 104594"/>
                  <a:gd name="connsiteX36" fmla="*/ 65578 w 108266"/>
                  <a:gd name="connsiteY36" fmla="*/ 36738 h 104594"/>
                  <a:gd name="connsiteX37" fmla="*/ 69573 w 108266"/>
                  <a:gd name="connsiteY37" fmla="*/ 39665 h 104594"/>
                  <a:gd name="connsiteX38" fmla="*/ 95213 w 108266"/>
                  <a:gd name="connsiteY38" fmla="*/ 43412 h 104594"/>
                  <a:gd name="connsiteX39" fmla="*/ 76679 w 108266"/>
                  <a:gd name="connsiteY39" fmla="*/ 61596 h 104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108266" h="104594">
                    <a:moveTo>
                      <a:pt x="100992" y="33458"/>
                    </a:moveTo>
                    <a:lnTo>
                      <a:pt x="73868" y="29491"/>
                    </a:lnTo>
                    <a:lnTo>
                      <a:pt x="61733" y="4720"/>
                    </a:lnTo>
                    <a:cubicBezTo>
                      <a:pt x="60278" y="1807"/>
                      <a:pt x="57363" y="0"/>
                      <a:pt x="54130" y="0"/>
                    </a:cubicBezTo>
                    <a:cubicBezTo>
                      <a:pt x="54123" y="0"/>
                      <a:pt x="54115" y="0"/>
                      <a:pt x="54108" y="0"/>
                    </a:cubicBezTo>
                    <a:cubicBezTo>
                      <a:pt x="50872" y="7"/>
                      <a:pt x="47964" y="1825"/>
                      <a:pt x="46519" y="4738"/>
                    </a:cubicBezTo>
                    <a:cubicBezTo>
                      <a:pt x="46515" y="4745"/>
                      <a:pt x="46515" y="4752"/>
                      <a:pt x="46512" y="4759"/>
                    </a:cubicBezTo>
                    <a:lnTo>
                      <a:pt x="34398" y="29488"/>
                    </a:lnTo>
                    <a:lnTo>
                      <a:pt x="7282" y="33455"/>
                    </a:lnTo>
                    <a:cubicBezTo>
                      <a:pt x="4056" y="33930"/>
                      <a:pt x="1420" y="36162"/>
                      <a:pt x="418" y="39287"/>
                    </a:cubicBezTo>
                    <a:cubicBezTo>
                      <a:pt x="-583" y="42404"/>
                      <a:pt x="243" y="45763"/>
                      <a:pt x="2579" y="48042"/>
                    </a:cubicBezTo>
                    <a:lnTo>
                      <a:pt x="22188" y="67284"/>
                    </a:lnTo>
                    <a:lnTo>
                      <a:pt x="17553" y="94579"/>
                    </a:lnTo>
                    <a:cubicBezTo>
                      <a:pt x="17006" y="97776"/>
                      <a:pt x="18265" y="100962"/>
                      <a:pt x="20851" y="102899"/>
                    </a:cubicBezTo>
                    <a:cubicBezTo>
                      <a:pt x="22346" y="104022"/>
                      <a:pt x="24116" y="104594"/>
                      <a:pt x="25908" y="104594"/>
                    </a:cubicBezTo>
                    <a:cubicBezTo>
                      <a:pt x="27206" y="104594"/>
                      <a:pt x="28515" y="104292"/>
                      <a:pt x="29742" y="103680"/>
                    </a:cubicBezTo>
                    <a:lnTo>
                      <a:pt x="54702" y="90954"/>
                    </a:lnTo>
                    <a:lnTo>
                      <a:pt x="78375" y="103471"/>
                    </a:lnTo>
                    <a:cubicBezTo>
                      <a:pt x="81264" y="105008"/>
                      <a:pt x="84709" y="104760"/>
                      <a:pt x="87348" y="102820"/>
                    </a:cubicBezTo>
                    <a:cubicBezTo>
                      <a:pt x="89984" y="100886"/>
                      <a:pt x="91271" y="97679"/>
                      <a:pt x="90706" y="94475"/>
                    </a:cubicBezTo>
                    <a:lnTo>
                      <a:pt x="86082" y="67288"/>
                    </a:lnTo>
                    <a:lnTo>
                      <a:pt x="105702" y="48038"/>
                    </a:lnTo>
                    <a:cubicBezTo>
                      <a:pt x="108031" y="45745"/>
                      <a:pt x="108850" y="42386"/>
                      <a:pt x="107845" y="39269"/>
                    </a:cubicBezTo>
                    <a:cubicBezTo>
                      <a:pt x="106843" y="36158"/>
                      <a:pt x="104215" y="33930"/>
                      <a:pt x="100992" y="33458"/>
                    </a:cubicBezTo>
                    <a:close/>
                    <a:moveTo>
                      <a:pt x="76679" y="61596"/>
                    </a:moveTo>
                    <a:cubicBezTo>
                      <a:pt x="75428" y="62824"/>
                      <a:pt x="74855" y="64591"/>
                      <a:pt x="75152" y="66323"/>
                    </a:cubicBezTo>
                    <a:lnTo>
                      <a:pt x="79523" y="92005"/>
                    </a:lnTo>
                    <a:lnTo>
                      <a:pt x="57223" y="80215"/>
                    </a:lnTo>
                    <a:cubicBezTo>
                      <a:pt x="55707" y="79409"/>
                      <a:pt x="53890" y="79394"/>
                      <a:pt x="52356" y="80179"/>
                    </a:cubicBezTo>
                    <a:lnTo>
                      <a:pt x="28733" y="92221"/>
                    </a:lnTo>
                    <a:lnTo>
                      <a:pt x="33129" y="66323"/>
                    </a:lnTo>
                    <a:cubicBezTo>
                      <a:pt x="33426" y="64591"/>
                      <a:pt x="32853" y="62824"/>
                      <a:pt x="31602" y="61596"/>
                    </a:cubicBezTo>
                    <a:lnTo>
                      <a:pt x="13068" y="43412"/>
                    </a:lnTo>
                    <a:lnTo>
                      <a:pt x="38694" y="39665"/>
                    </a:lnTo>
                    <a:cubicBezTo>
                      <a:pt x="40421" y="39413"/>
                      <a:pt x="41916" y="38315"/>
                      <a:pt x="42689" y="36738"/>
                    </a:cubicBezTo>
                    <a:lnTo>
                      <a:pt x="54133" y="13370"/>
                    </a:lnTo>
                    <a:lnTo>
                      <a:pt x="65578" y="36738"/>
                    </a:lnTo>
                    <a:cubicBezTo>
                      <a:pt x="66351" y="38315"/>
                      <a:pt x="67846" y="39413"/>
                      <a:pt x="69573" y="39665"/>
                    </a:cubicBezTo>
                    <a:lnTo>
                      <a:pt x="95213" y="43412"/>
                    </a:lnTo>
                    <a:lnTo>
                      <a:pt x="76679" y="61596"/>
                    </a:lnTo>
                    <a:close/>
                  </a:path>
                </a:pathLst>
              </a:custGeom>
              <a:solidFill>
                <a:srgbClr val="231F20"/>
              </a:solidFill>
              <a:ln w="354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85774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9F351CE4-FC6B-A547-A7C3-78B6D6EF5E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9F351CE4-FC6B-A547-A7C3-78B6D6EF5E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01270" y="975540"/>
            <a:ext cx="3328740" cy="3890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800" b="1" dirty="0">
                <a:solidFill>
                  <a:srgbClr val="EA6B14"/>
                </a:solidFill>
              </a:rPr>
              <a:t>Реализуемые направления подготовки </a:t>
            </a:r>
          </a:p>
          <a:p>
            <a:pPr>
              <a:lnSpc>
                <a:spcPct val="150000"/>
              </a:lnSpc>
            </a:pPr>
            <a:r>
              <a:rPr lang="ru-RU" sz="2800" b="1" dirty="0">
                <a:solidFill>
                  <a:srgbClr val="EA6B14"/>
                </a:solidFill>
              </a:rPr>
              <a:t>рабочих кадров требуемой квалификации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65944" y="887825"/>
            <a:ext cx="8396177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dirty="0"/>
              <a:t>Сотрудничество со школами города для подготовки учащихся к инженерной деятельности </a:t>
            </a:r>
          </a:p>
          <a:p>
            <a:pPr>
              <a:lnSpc>
                <a:spcPct val="150000"/>
              </a:lnSpc>
            </a:pPr>
            <a:r>
              <a:rPr lang="ru-RU" dirty="0"/>
              <a:t>Сотрудничество с МАОУ ДО «Центр образования и профессиональной ориентации» </a:t>
            </a:r>
          </a:p>
          <a:p>
            <a:pPr>
              <a:lnSpc>
                <a:spcPct val="150000"/>
              </a:lnSpc>
            </a:pPr>
            <a:r>
              <a:rPr lang="ru-RU" dirty="0"/>
              <a:t>Организация курсов ЕГЭ Учебным центром АО </a:t>
            </a:r>
          </a:p>
          <a:p>
            <a:pPr>
              <a:lnSpc>
                <a:spcPct val="150000"/>
              </a:lnSpc>
            </a:pPr>
            <a:r>
              <a:rPr lang="ru-RU" dirty="0"/>
              <a:t>Организация и проведение конкурса «</a:t>
            </a:r>
            <a:r>
              <a:rPr lang="ru-RU" dirty="0" err="1"/>
              <a:t>Инженериада</a:t>
            </a:r>
            <a:r>
              <a:rPr lang="ru-RU" dirty="0"/>
              <a:t> УГМК» </a:t>
            </a:r>
          </a:p>
          <a:p>
            <a:pPr>
              <a:lnSpc>
                <a:spcPct val="150000"/>
              </a:lnSpc>
            </a:pPr>
            <a:r>
              <a:rPr lang="ru-RU" dirty="0"/>
              <a:t>Новый образовательный проект  - Инженерная школа УГМК</a:t>
            </a:r>
          </a:p>
          <a:p>
            <a:pPr>
              <a:lnSpc>
                <a:spcPct val="150000"/>
              </a:lnSpc>
            </a:pPr>
            <a:r>
              <a:rPr lang="ru-RU" dirty="0"/>
              <a:t>Целевая подготовка рабочих в МТТ «Юность» , и УГК имени </a:t>
            </a:r>
            <a:r>
              <a:rPr lang="ru-RU" dirty="0" err="1"/>
              <a:t>И.И.Ползунова</a:t>
            </a:r>
            <a:r>
              <a:rPr lang="ru-RU" dirty="0"/>
              <a:t> </a:t>
            </a:r>
          </a:p>
          <a:p>
            <a:pPr>
              <a:lnSpc>
                <a:spcPct val="150000"/>
              </a:lnSpc>
            </a:pPr>
            <a:r>
              <a:rPr lang="ru-RU" dirty="0"/>
              <a:t>Организация стажировок учителей, преподавателей и мастеров производственного обучения на предприятии</a:t>
            </a:r>
          </a:p>
          <a:p>
            <a:pPr>
              <a:lnSpc>
                <a:spcPct val="150000"/>
              </a:lnSpc>
            </a:pPr>
            <a:r>
              <a:rPr lang="ru-RU" dirty="0"/>
              <a:t>Реализация проекта «технопарк универсальных педагогических компетенций» 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332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56C62976-7342-9246-A17C-1D603264C0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56C62976-7342-9246-A17C-1D603264C0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5F864-409A-884E-89C2-6B3EA6BB2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sz="4800" dirty="0">
                <a:latin typeface="+mj-lt"/>
                <a:ea typeface="+mn-ea"/>
                <a:cs typeface="+mn-cs"/>
              </a:rPr>
              <a:t>Выводы</a:t>
            </a:r>
            <a:r>
              <a:rPr lang="ru-RU" sz="4800" dirty="0">
                <a:solidFill>
                  <a:schemeClr val="accent1"/>
                </a:solidFill>
                <a:latin typeface="+mj-lt"/>
                <a:ea typeface="+mn-ea"/>
                <a:cs typeface="+mn-cs"/>
              </a:rPr>
              <a:t> 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F7856D13-91C9-3C4F-8A5C-2E1A91601FB2}"/>
              </a:ext>
            </a:extLst>
          </p:cNvPr>
          <p:cNvGrpSpPr/>
          <p:nvPr/>
        </p:nvGrpSpPr>
        <p:grpSpPr>
          <a:xfrm>
            <a:off x="807839" y="2381276"/>
            <a:ext cx="3242271" cy="3445366"/>
            <a:chOff x="807839" y="2381276"/>
            <a:chExt cx="3242271" cy="2986086"/>
          </a:xfrm>
        </p:grpSpPr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DA39536D-CC3C-AD47-9529-F1F502C084A5}"/>
                </a:ext>
              </a:extLst>
            </p:cNvPr>
            <p:cNvSpPr/>
            <p:nvPr/>
          </p:nvSpPr>
          <p:spPr>
            <a:xfrm>
              <a:off x="807839" y="2381276"/>
              <a:ext cx="3242271" cy="2986086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4279B47-37BB-3F44-BA7F-A0C5DA88628B}"/>
                </a:ext>
              </a:extLst>
            </p:cNvPr>
            <p:cNvSpPr txBox="1"/>
            <p:nvPr/>
          </p:nvSpPr>
          <p:spPr>
            <a:xfrm>
              <a:off x="896321" y="3136677"/>
              <a:ext cx="3030436" cy="73866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spcBef>
                  <a:spcPct val="30000"/>
                </a:spcBef>
              </a:pPr>
              <a:r>
                <a:rPr lang="ru-RU" sz="1600" b="1" dirty="0">
                  <a:solidFill>
                    <a:schemeClr val="accent1"/>
                  </a:solidFill>
                  <a:latin typeface="+mj-lt"/>
                </a:rPr>
                <a:t>Проект имеет отрицательные показатели экономической эффективности 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554460A3-08B0-7B48-BA43-F6CA75958619}"/>
              </a:ext>
            </a:extLst>
          </p:cNvPr>
          <p:cNvGrpSpPr/>
          <p:nvPr/>
        </p:nvGrpSpPr>
        <p:grpSpPr>
          <a:xfrm>
            <a:off x="4485679" y="2381276"/>
            <a:ext cx="3297165" cy="3445366"/>
            <a:chOff x="4485679" y="2381276"/>
            <a:chExt cx="3242271" cy="2986086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4F6D2AD7-1EEE-E346-944C-A1A3BCD3ABB5}"/>
                </a:ext>
              </a:extLst>
            </p:cNvPr>
            <p:cNvSpPr/>
            <p:nvPr/>
          </p:nvSpPr>
          <p:spPr>
            <a:xfrm>
              <a:off x="4485679" y="2381276"/>
              <a:ext cx="3242271" cy="2986086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 dirty="0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D6A4F16-27C7-FF4B-9BFD-ED10B6F9DB9F}"/>
                </a:ext>
              </a:extLst>
            </p:cNvPr>
            <p:cNvSpPr txBox="1"/>
            <p:nvPr/>
          </p:nvSpPr>
          <p:spPr>
            <a:xfrm>
              <a:off x="4711156" y="4013750"/>
              <a:ext cx="279131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defTabSz="685800">
                <a:spcBef>
                  <a:spcPct val="30000"/>
                </a:spcBef>
              </a:pPr>
              <a:endParaRPr lang="ru-RU" sz="1200" dirty="0">
                <a:cs typeface="Calibri" panose="020F0502020204030204" pitchFamily="34" charset="0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7654CCD9-7A2D-A840-B2CC-68F4E024F535}"/>
              </a:ext>
            </a:extLst>
          </p:cNvPr>
          <p:cNvGrpSpPr/>
          <p:nvPr/>
        </p:nvGrpSpPr>
        <p:grpSpPr>
          <a:xfrm>
            <a:off x="8149219" y="2381276"/>
            <a:ext cx="3382544" cy="3445366"/>
            <a:chOff x="8149219" y="2381276"/>
            <a:chExt cx="3242394" cy="2986086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630AF678-D78B-9E4D-9D7D-EDAEA2008F58}"/>
                </a:ext>
              </a:extLst>
            </p:cNvPr>
            <p:cNvSpPr/>
            <p:nvPr/>
          </p:nvSpPr>
          <p:spPr>
            <a:xfrm>
              <a:off x="8149219" y="2381276"/>
              <a:ext cx="3242394" cy="2986086"/>
            </a:xfrm>
            <a:prstGeom prst="roundRect">
              <a:avLst>
                <a:gd name="adj" fmla="val 5363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6E15908-8B4E-C344-8477-29F6B873378A}"/>
                </a:ext>
              </a:extLst>
            </p:cNvPr>
            <p:cNvSpPr txBox="1"/>
            <p:nvPr/>
          </p:nvSpPr>
          <p:spPr>
            <a:xfrm>
              <a:off x="8374758" y="4013750"/>
              <a:ext cx="279131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defTabSz="685800">
                <a:spcBef>
                  <a:spcPct val="30000"/>
                </a:spcBef>
              </a:pPr>
              <a:endParaRPr lang="ru-RU" sz="1200" dirty="0">
                <a:cs typeface="Calibri" panose="020F0502020204030204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621084" y="2962676"/>
            <a:ext cx="2903371" cy="785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  <a:spcBef>
                <a:spcPct val="30000"/>
              </a:spcBef>
            </a:pPr>
            <a:r>
              <a:rPr lang="ru-RU" sz="1600" b="1" dirty="0">
                <a:solidFill>
                  <a:schemeClr val="accent1"/>
                </a:solidFill>
                <a:latin typeface="+mj-lt"/>
              </a:rPr>
              <a:t>внутренняя норма рентабельности IRR – 0 %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108068" y="2770260"/>
            <a:ext cx="3555847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  <a:spcBef>
                <a:spcPct val="30000"/>
              </a:spcBef>
            </a:pPr>
            <a:r>
              <a:rPr lang="ru-RU" sz="1600" b="1" dirty="0">
                <a:solidFill>
                  <a:schemeClr val="accent1"/>
                </a:solidFill>
                <a:latin typeface="+mj-lt"/>
              </a:rPr>
              <a:t>Необходимость реализации проекта обусловлена его значимыми социальными эффектами, а также намерением предприятия сохранить население  территории присутствия предприятия УГМК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416485" y="4103959"/>
            <a:ext cx="33666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  <a:spcBef>
                <a:spcPct val="30000"/>
              </a:spcBef>
            </a:pPr>
            <a:r>
              <a:rPr lang="ru-RU" sz="1600" b="1" dirty="0" smtClean="0">
                <a:solidFill>
                  <a:schemeClr val="accent1"/>
                </a:solidFill>
                <a:latin typeface="+mj-lt"/>
              </a:rPr>
              <a:t>при </a:t>
            </a:r>
            <a:r>
              <a:rPr lang="ru-RU" sz="1600" b="1" dirty="0">
                <a:solidFill>
                  <a:schemeClr val="accent1"/>
                </a:solidFill>
                <a:latin typeface="+mj-lt"/>
              </a:rPr>
              <a:t>внесенных  показателях, проект не выходит на </a:t>
            </a:r>
            <a:r>
              <a:rPr lang="ru-RU" sz="1600" b="1" dirty="0" smtClean="0">
                <a:solidFill>
                  <a:schemeClr val="accent1"/>
                </a:solidFill>
                <a:latin typeface="+mj-lt"/>
              </a:rPr>
              <a:t>окупаемость </a:t>
            </a:r>
            <a:endParaRPr lang="ru-RU" sz="1600" b="1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03490" y="1658679"/>
            <a:ext cx="1222744" cy="1111582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53350" y="1776414"/>
            <a:ext cx="1128203" cy="107008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72391" y="1776414"/>
            <a:ext cx="1154270" cy="11442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37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4B9CEFD8-FF97-4340-88F8-E6EF5CA2BE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9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4B9CEFD8-FF97-4340-88F8-E6EF5CA2B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9128D0-2F8D-3147-BE2F-BD98CFFB61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Ожидаемые  эффекты от реализации проекта </a:t>
            </a:r>
            <a:endParaRPr lang="ru-RU" dirty="0"/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21BACA8F-5EC8-6B4D-8C69-ADC5C1F02499}"/>
              </a:ext>
            </a:extLst>
          </p:cNvPr>
          <p:cNvGrpSpPr/>
          <p:nvPr/>
        </p:nvGrpSpPr>
        <p:grpSpPr>
          <a:xfrm>
            <a:off x="4477386" y="1727200"/>
            <a:ext cx="3240000" cy="4473575"/>
            <a:chOff x="4477386" y="1727200"/>
            <a:chExt cx="3240000" cy="4473575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2990A2CF-4E95-A745-9607-676B8E79A063}"/>
                </a:ext>
              </a:extLst>
            </p:cNvPr>
            <p:cNvSpPr/>
            <p:nvPr/>
          </p:nvSpPr>
          <p:spPr>
            <a:xfrm>
              <a:off x="4477386" y="1727200"/>
              <a:ext cx="3240000" cy="4473575"/>
            </a:xfrm>
            <a:prstGeom prst="roundRect">
              <a:avLst>
                <a:gd name="adj" fmla="val 6342"/>
              </a:avLst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1DC671EF-4EDC-D944-9976-D0D7EB7DE062}"/>
                </a:ext>
              </a:extLst>
            </p:cNvPr>
            <p:cNvSpPr/>
            <p:nvPr/>
          </p:nvSpPr>
          <p:spPr>
            <a:xfrm>
              <a:off x="4765762" y="3407285"/>
              <a:ext cx="2663249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endParaRPr lang="en-US" sz="2800" dirty="0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47A4AB0E-78CA-7145-9746-0B482AEA7F72}"/>
                </a:ext>
              </a:extLst>
            </p:cNvPr>
            <p:cNvSpPr/>
            <p:nvPr/>
          </p:nvSpPr>
          <p:spPr>
            <a:xfrm>
              <a:off x="6097351" y="2279533"/>
              <a:ext cx="65" cy="184666"/>
            </a:xfrm>
            <a:prstGeom prst="rect">
              <a:avLst/>
            </a:prstGeom>
          </p:spPr>
          <p:txBody>
            <a:bodyPr wrap="none" lIns="0" tIns="0" rIns="0" bIns="0" anchor="t">
              <a:spAutoFit/>
            </a:bodyPr>
            <a:lstStyle/>
            <a:p>
              <a:pPr algn="ctr"/>
              <a:endParaRPr lang="ru-RU" sz="12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5" name="Прямая со стрелкой 34">
              <a:extLst>
                <a:ext uri="{FF2B5EF4-FFF2-40B4-BE49-F238E27FC236}">
                  <a16:creationId xmlns:a16="http://schemas.microsoft.com/office/drawing/2014/main" id="{C44DB8AA-6C66-EF44-AD09-A5D1FBAD88E9}"/>
                </a:ext>
              </a:extLst>
            </p:cNvPr>
            <p:cNvCxnSpPr>
              <a:cxnSpLocks/>
            </p:cNvCxnSpPr>
            <p:nvPr/>
          </p:nvCxnSpPr>
          <p:spPr>
            <a:xfrm>
              <a:off x="4477386" y="2735638"/>
              <a:ext cx="3240000" cy="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9AC0AA18-4629-094D-B37B-8780481B2B34}"/>
              </a:ext>
            </a:extLst>
          </p:cNvPr>
          <p:cNvGrpSpPr/>
          <p:nvPr/>
        </p:nvGrpSpPr>
        <p:grpSpPr>
          <a:xfrm>
            <a:off x="8144294" y="1727200"/>
            <a:ext cx="3251165" cy="4473575"/>
            <a:chOff x="8144294" y="1727200"/>
            <a:chExt cx="3251165" cy="4473575"/>
          </a:xfrm>
        </p:grpSpPr>
        <p:sp>
          <p:nvSpPr>
            <p:cNvPr id="8" name="Скругленный прямоугольник 7">
              <a:extLst>
                <a:ext uri="{FF2B5EF4-FFF2-40B4-BE49-F238E27FC236}">
                  <a16:creationId xmlns:a16="http://schemas.microsoft.com/office/drawing/2014/main" id="{6557D330-AA0E-9244-BE40-246A0F1BB531}"/>
                </a:ext>
              </a:extLst>
            </p:cNvPr>
            <p:cNvSpPr/>
            <p:nvPr/>
          </p:nvSpPr>
          <p:spPr>
            <a:xfrm>
              <a:off x="8149876" y="1727200"/>
              <a:ext cx="3240000" cy="4473575"/>
            </a:xfrm>
            <a:prstGeom prst="roundRect">
              <a:avLst>
                <a:gd name="adj" fmla="val 63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297F6D82-885C-7C43-859C-F1C01F10D424}"/>
                </a:ext>
              </a:extLst>
            </p:cNvPr>
            <p:cNvSpPr/>
            <p:nvPr/>
          </p:nvSpPr>
          <p:spPr>
            <a:xfrm>
              <a:off x="8445470" y="3407285"/>
              <a:ext cx="2648812" cy="43088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endParaRPr lang="en-US" sz="2800" dirty="0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707B278B-414A-4F49-9168-55EEE2AEB71B}"/>
                </a:ext>
              </a:extLst>
            </p:cNvPr>
            <p:cNvSpPr/>
            <p:nvPr/>
          </p:nvSpPr>
          <p:spPr>
            <a:xfrm>
              <a:off x="8349713" y="2279533"/>
              <a:ext cx="2840329" cy="246221"/>
            </a:xfrm>
            <a:prstGeom prst="rect">
              <a:avLst/>
            </a:prstGeom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1"/>
                  </a:solidFill>
                </a:rPr>
                <a:t>д</a:t>
              </a:r>
              <a:r>
                <a:rPr lang="ru-RU" sz="1600" b="1" dirty="0" smtClean="0">
                  <a:solidFill>
                    <a:schemeClr val="accent1"/>
                  </a:solidFill>
                </a:rPr>
                <a:t>ля </a:t>
              </a:r>
              <a:r>
                <a:rPr lang="ru-RU" sz="1600" b="1" dirty="0">
                  <a:solidFill>
                    <a:schemeClr val="accent1"/>
                  </a:solidFill>
                </a:rPr>
                <a:t>АО «Уралэлектромедь»</a:t>
              </a:r>
            </a:p>
          </p:txBody>
        </p:sp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1FAEF7D6-530A-AA49-A833-C6AFBACB1F7A}"/>
                </a:ext>
              </a:extLst>
            </p:cNvPr>
            <p:cNvCxnSpPr>
              <a:cxnSpLocks/>
            </p:cNvCxnSpPr>
            <p:nvPr/>
          </p:nvCxnSpPr>
          <p:spPr>
            <a:xfrm>
              <a:off x="8144294" y="2735638"/>
              <a:ext cx="3251165" cy="0"/>
            </a:xfrm>
            <a:prstGeom prst="line">
              <a:avLst/>
            </a:prstGeom>
            <a:ln w="952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A266089-1EF8-CE4A-A332-DEE28F50A38F}"/>
              </a:ext>
            </a:extLst>
          </p:cNvPr>
          <p:cNvGrpSpPr/>
          <p:nvPr/>
        </p:nvGrpSpPr>
        <p:grpSpPr>
          <a:xfrm>
            <a:off x="804895" y="1681662"/>
            <a:ext cx="3240001" cy="4473575"/>
            <a:chOff x="810477" y="1727200"/>
            <a:chExt cx="3240001" cy="4473575"/>
          </a:xfrm>
        </p:grpSpPr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D195CC95-837F-4B44-A6B8-CD4FD3B394F4}"/>
                </a:ext>
              </a:extLst>
            </p:cNvPr>
            <p:cNvSpPr/>
            <p:nvPr/>
          </p:nvSpPr>
          <p:spPr>
            <a:xfrm>
              <a:off x="810477" y="1727200"/>
              <a:ext cx="3240000" cy="4473575"/>
            </a:xfrm>
            <a:prstGeom prst="roundRect">
              <a:avLst>
                <a:gd name="adj" fmla="val 6342"/>
              </a:avLst>
            </a:pr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24F1C11F-01D0-BB4A-AB01-8EA23A5F4046}"/>
                </a:ext>
              </a:extLst>
            </p:cNvPr>
            <p:cNvSpPr/>
            <p:nvPr/>
          </p:nvSpPr>
          <p:spPr>
            <a:xfrm>
              <a:off x="1099610" y="3407285"/>
              <a:ext cx="2661735" cy="184666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endParaRPr lang="en-US" sz="1200" dirty="0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76987D39-FDCD-B84D-9A1D-B1FB6FFFB7F8}"/>
                </a:ext>
              </a:extLst>
            </p:cNvPr>
            <p:cNvSpPr/>
            <p:nvPr/>
          </p:nvSpPr>
          <p:spPr>
            <a:xfrm>
              <a:off x="1001112" y="2279533"/>
              <a:ext cx="2858732" cy="246221"/>
            </a:xfrm>
            <a:prstGeom prst="rect">
              <a:avLst/>
            </a:prstGeom>
          </p:spPr>
          <p:txBody>
            <a:bodyPr wrap="none" lIns="0" tIns="0" rIns="0" bIns="0" anchor="t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accent1"/>
                  </a:solidFill>
                </a:rPr>
                <a:t>д</a:t>
              </a:r>
              <a:r>
                <a:rPr lang="ru-RU" sz="1600" b="1" dirty="0" smtClean="0">
                  <a:solidFill>
                    <a:schemeClr val="accent1"/>
                  </a:solidFill>
                </a:rPr>
                <a:t>ля Свердловской области </a:t>
              </a:r>
              <a:endParaRPr lang="ru-RU" sz="16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34" name="Прямая со стрелкой 33">
              <a:extLst>
                <a:ext uri="{FF2B5EF4-FFF2-40B4-BE49-F238E27FC236}">
                  <a16:creationId xmlns:a16="http://schemas.microsoft.com/office/drawing/2014/main" id="{91C866F5-81A7-1543-9572-2EEB428AF6F4}"/>
                </a:ext>
              </a:extLst>
            </p:cNvPr>
            <p:cNvCxnSpPr>
              <a:cxnSpLocks/>
            </p:cNvCxnSpPr>
            <p:nvPr/>
          </p:nvCxnSpPr>
          <p:spPr>
            <a:xfrm>
              <a:off x="810477" y="2735638"/>
              <a:ext cx="3240001" cy="0"/>
            </a:xfrm>
            <a:prstGeom prst="straightConnector1">
              <a:avLst/>
            </a:prstGeom>
            <a:ln w="9525">
              <a:solidFill>
                <a:schemeClr val="accent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995530" y="2813148"/>
            <a:ext cx="3186262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Повышение инвестиционной привлекательности </a:t>
            </a:r>
            <a:r>
              <a:rPr lang="ru-RU" sz="1400" dirty="0" smtClean="0"/>
              <a:t>региона</a:t>
            </a: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Снижение </a:t>
            </a:r>
            <a:r>
              <a:rPr lang="ru-RU" sz="1400" dirty="0"/>
              <a:t>социальной </a:t>
            </a:r>
            <a:r>
              <a:rPr lang="ru-RU" sz="1400" dirty="0" smtClean="0"/>
              <a:t>напряженности</a:t>
            </a: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Повышение </a:t>
            </a:r>
            <a:r>
              <a:rPr lang="ru-RU" sz="1400" dirty="0"/>
              <a:t>уровня трудоустройства выпускников </a:t>
            </a:r>
            <a:r>
              <a:rPr lang="ru-RU" sz="1400" dirty="0" smtClean="0"/>
              <a:t>СПО</a:t>
            </a:r>
          </a:p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Обеспечение </a:t>
            </a:r>
            <a:r>
              <a:rPr lang="ru-RU" sz="1400" dirty="0"/>
              <a:t>доступности образования для жителей </a:t>
            </a:r>
            <a:r>
              <a:rPr lang="ru-RU" sz="1400" dirty="0" smtClean="0"/>
              <a:t>ГО Кировград </a:t>
            </a:r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241903" y="2144095"/>
            <a:ext cx="371102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chemeClr val="accent1"/>
                </a:solidFill>
              </a:rPr>
              <a:t>д</a:t>
            </a:r>
            <a:r>
              <a:rPr lang="ru-RU" sz="1600" b="1" dirty="0" smtClean="0">
                <a:solidFill>
                  <a:schemeClr val="accent1"/>
                </a:solidFill>
              </a:rPr>
              <a:t>ля </a:t>
            </a:r>
            <a:r>
              <a:rPr lang="ru-RU" sz="1600" b="1" dirty="0">
                <a:solidFill>
                  <a:schemeClr val="accent1"/>
                </a:solidFill>
              </a:rPr>
              <a:t>образовательных учреждений ГО Кировград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508692" y="2799444"/>
            <a:ext cx="3177448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Повышение конкурентоспособности ОУ СПО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Повышение качества образования в результате оптимизации в образовательном процессе теоретической и практической подготовки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/>
              <a:t>Улучшение материально-технической базу </a:t>
            </a:r>
            <a:r>
              <a:rPr lang="ru-RU" sz="1400" dirty="0" smtClean="0"/>
              <a:t>ОУ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8188411" y="2729046"/>
            <a:ext cx="321263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Повышение производительности труда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Снижение уровня текучести кадров 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Снижение издержек на адаптацию работников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Снижение издержек на поиск и привлечение персонала 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400" dirty="0" smtClean="0"/>
              <a:t>Возможность привлекать на предприятие лучшие кадры </a:t>
            </a:r>
            <a:endParaRPr lang="ru-RU" sz="1400" dirty="0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63340" y="1319253"/>
            <a:ext cx="923109" cy="80510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64777" y="1319253"/>
            <a:ext cx="923109" cy="761037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97266" y="1364001"/>
            <a:ext cx="1194920" cy="54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6898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76E54C0-688A-3846-86AD-55798AF6C1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76E54C0-688A-3846-86AD-55798AF6C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Заголовок 27">
            <a:extLst>
              <a:ext uri="{FF2B5EF4-FFF2-40B4-BE49-F238E27FC236}">
                <a16:creationId xmlns:a16="http://schemas.microsoft.com/office/drawing/2014/main" id="{C097F929-4574-6D49-BF7C-014D957D9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2919" y="790333"/>
            <a:ext cx="9609383" cy="664797"/>
          </a:xfrm>
        </p:spPr>
        <p:txBody>
          <a:bodyPr vert="horz"/>
          <a:lstStyle/>
          <a:p>
            <a:r>
              <a:rPr lang="ru-RU" dirty="0" smtClean="0"/>
              <a:t>Корреляция проекта со стратегическим задачами развития РФ </a:t>
            </a:r>
            <a:endParaRPr lang="ru-RU" dirty="0"/>
          </a:p>
        </p:txBody>
      </p:sp>
      <p:sp>
        <p:nvSpPr>
          <p:cNvPr id="32" name="ee4pHeader1">
            <a:extLst>
              <a:ext uri="{FF2B5EF4-FFF2-40B4-BE49-F238E27FC236}">
                <a16:creationId xmlns:a16="http://schemas.microsoft.com/office/drawing/2014/main" id="{2C7D8630-BBD1-964D-83BA-3143C9C40D6A}"/>
              </a:ext>
            </a:extLst>
          </p:cNvPr>
          <p:cNvSpPr txBox="1"/>
          <p:nvPr/>
        </p:nvSpPr>
        <p:spPr>
          <a:xfrm>
            <a:off x="1491362" y="3080430"/>
            <a:ext cx="4106249" cy="27699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2000" b="1" cap="all" dirty="0" smtClean="0">
                <a:solidFill>
                  <a:schemeClr val="accent1"/>
                </a:solidFill>
                <a:latin typeface="+mj-lt"/>
                <a:cs typeface="Arial" pitchFamily="34" charset="0"/>
              </a:rPr>
              <a:t>Региональная значимость </a:t>
            </a:r>
            <a:endParaRPr lang="en-US" sz="20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46" name="ee4pHeader1">
            <a:extLst>
              <a:ext uri="{FF2B5EF4-FFF2-40B4-BE49-F238E27FC236}">
                <a16:creationId xmlns:a16="http://schemas.microsoft.com/office/drawing/2014/main" id="{B540F790-A375-554D-996C-E6720AA18D77}"/>
              </a:ext>
            </a:extLst>
          </p:cNvPr>
          <p:cNvSpPr txBox="1"/>
          <p:nvPr/>
        </p:nvSpPr>
        <p:spPr>
          <a:xfrm>
            <a:off x="1824545" y="5037330"/>
            <a:ext cx="4037830" cy="5539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lang="ru-RU" sz="1200" dirty="0"/>
              <a:t>Свердловская область на уровне Российской Федерации определена как регион-ментор в части развития дуального обучения</a:t>
            </a:r>
            <a:endParaRPr lang="en-US" sz="1200" dirty="0"/>
          </a:p>
        </p:txBody>
      </p:sp>
      <p:sp>
        <p:nvSpPr>
          <p:cNvPr id="47" name="ee4pHeader1">
            <a:extLst>
              <a:ext uri="{FF2B5EF4-FFF2-40B4-BE49-F238E27FC236}">
                <a16:creationId xmlns:a16="http://schemas.microsoft.com/office/drawing/2014/main" id="{F1A149F6-DC3C-0A45-BBC8-1565E7D8BCF4}"/>
              </a:ext>
            </a:extLst>
          </p:cNvPr>
          <p:cNvSpPr txBox="1"/>
          <p:nvPr/>
        </p:nvSpPr>
        <p:spPr>
          <a:xfrm>
            <a:off x="1733953" y="1650769"/>
            <a:ext cx="3753176" cy="55399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3"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2000" b="1" cap="all" dirty="0">
                <a:solidFill>
                  <a:schemeClr val="accent1"/>
                </a:solidFill>
                <a:latin typeface="+mj-lt"/>
                <a:cs typeface="Arial" pitchFamily="34" charset="0"/>
              </a:rPr>
              <a:t>Национальный проект «Образование»</a:t>
            </a:r>
            <a:endParaRPr lang="en-US" sz="2000" b="1" cap="all" dirty="0">
              <a:solidFill>
                <a:schemeClr val="accent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5" name="ee4pHeader1">
            <a:extLst>
              <a:ext uri="{FF2B5EF4-FFF2-40B4-BE49-F238E27FC236}">
                <a16:creationId xmlns:a16="http://schemas.microsoft.com/office/drawing/2014/main" id="{EC50339E-6D46-3A41-86FC-D7E6943059B9}"/>
              </a:ext>
            </a:extLst>
          </p:cNvPr>
          <p:cNvSpPr txBox="1"/>
          <p:nvPr/>
        </p:nvSpPr>
        <p:spPr>
          <a:xfrm>
            <a:off x="1736457" y="3505460"/>
            <a:ext cx="4354303" cy="110799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lang="ru-RU" sz="1200" dirty="0">
                <a:latin typeface="Graphik"/>
              </a:rPr>
              <a:t>Системный проект «</a:t>
            </a:r>
            <a:r>
              <a:rPr lang="ru-RU" sz="1200" dirty="0">
                <a:latin typeface="Graphik"/>
                <a:hlinkClick r:id="rId6"/>
              </a:rPr>
              <a:t>Подготовка рабочих кадров, соответствующих требованиям высокотехнологичных отраслей промышленности, на основе дуального образования</a:t>
            </a:r>
            <a:r>
              <a:rPr lang="ru-RU" sz="1200" dirty="0">
                <a:latin typeface="Graphik"/>
              </a:rPr>
              <a:t>» одобрен решением Наблюдательного совета АНО «Агентство стратегических инициатив по продвижению новых проектов»</a:t>
            </a:r>
            <a:endParaRPr lang="en-US" sz="1200" dirty="0"/>
          </a:p>
        </p:txBody>
      </p:sp>
      <p:pic>
        <p:nvPicPr>
          <p:cNvPr id="12" name="Рисунок 11"/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6" r="7556"/>
          <a:stretch>
            <a:fillRect/>
          </a:stretch>
        </p:blipFill>
        <p:spPr/>
      </p:pic>
      <p:sp>
        <p:nvSpPr>
          <p:cNvPr id="29" name="ee4pHeader1">
            <a:extLst>
              <a:ext uri="{FF2B5EF4-FFF2-40B4-BE49-F238E27FC236}">
                <a16:creationId xmlns:a16="http://schemas.microsoft.com/office/drawing/2014/main" id="{EC50339E-6D46-3A41-86FC-D7E6943059B9}"/>
              </a:ext>
            </a:extLst>
          </p:cNvPr>
          <p:cNvSpPr txBox="1"/>
          <p:nvPr/>
        </p:nvSpPr>
        <p:spPr>
          <a:xfrm>
            <a:off x="1465037" y="2386918"/>
            <a:ext cx="4022092" cy="369332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lvl="3">
              <a:spcAft>
                <a:spcPts val="300"/>
              </a:spcAft>
              <a:defRPr/>
            </a:pPr>
            <a:r>
              <a:rPr lang="ru-RU" sz="1200" dirty="0" smtClean="0"/>
              <a:t>Федеральный проект «Молодые профессионалы (развитие среднего профессионального образования) </a:t>
            </a:r>
            <a:endParaRPr lang="en-US" sz="1200" dirty="0"/>
          </a:p>
        </p:txBody>
      </p:sp>
      <p:grpSp>
        <p:nvGrpSpPr>
          <p:cNvPr id="19" name="Group 47">
            <a:extLst>
              <a:ext uri="{FF2B5EF4-FFF2-40B4-BE49-F238E27FC236}">
                <a16:creationId xmlns:a16="http://schemas.microsoft.com/office/drawing/2014/main" id="{EA9714ED-FA37-4197-B1B2-2A78354D4F46}"/>
              </a:ext>
            </a:extLst>
          </p:cNvPr>
          <p:cNvGrpSpPr/>
          <p:nvPr/>
        </p:nvGrpSpPr>
        <p:grpSpPr>
          <a:xfrm>
            <a:off x="853255" y="1550283"/>
            <a:ext cx="770216" cy="671158"/>
            <a:chOff x="8106750" y="1346928"/>
            <a:chExt cx="550305" cy="550305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C54175C1-E701-4933-BAF6-CCCC689B6F78}"/>
                </a:ext>
              </a:extLst>
            </p:cNvPr>
            <p:cNvSpPr/>
            <p:nvPr/>
          </p:nvSpPr>
          <p:spPr>
            <a:xfrm>
              <a:off x="8106750" y="13469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1" name="Graphic 346">
              <a:extLst>
                <a:ext uri="{FF2B5EF4-FFF2-40B4-BE49-F238E27FC236}">
                  <a16:creationId xmlns:a16="http://schemas.microsoft.com/office/drawing/2014/main" id="{946B2EE4-F954-4D3A-80B6-52F962C00FEA}"/>
                </a:ext>
              </a:extLst>
            </p:cNvPr>
            <p:cNvGrpSpPr/>
            <p:nvPr/>
          </p:nvGrpSpPr>
          <p:grpSpPr>
            <a:xfrm>
              <a:off x="8206530" y="1446948"/>
              <a:ext cx="352184" cy="352091"/>
              <a:chOff x="8206530" y="1446948"/>
              <a:chExt cx="352184" cy="352091"/>
            </a:xfrm>
            <a:solidFill>
              <a:srgbClr val="231F20"/>
            </a:solidFill>
          </p:grpSpPr>
          <p:sp>
            <p:nvSpPr>
              <p:cNvPr id="22" name="Graphic 346">
                <a:extLst>
                  <a:ext uri="{FF2B5EF4-FFF2-40B4-BE49-F238E27FC236}">
                    <a16:creationId xmlns:a16="http://schemas.microsoft.com/office/drawing/2014/main" id="{DD36B0CB-29F7-46D4-A897-A82B93CC4B6D}"/>
                  </a:ext>
                </a:extLst>
              </p:cNvPr>
              <p:cNvSpPr/>
              <p:nvPr/>
            </p:nvSpPr>
            <p:spPr>
              <a:xfrm>
                <a:off x="8258688" y="1446948"/>
                <a:ext cx="90307" cy="104567"/>
              </a:xfrm>
              <a:custGeom>
                <a:avLst/>
                <a:gdLst>
                  <a:gd name="connsiteX0" fmla="*/ 5850 w 90307"/>
                  <a:gd name="connsiteY0" fmla="*/ 61058 h 104567"/>
                  <a:gd name="connsiteX1" fmla="*/ 13528 w 90307"/>
                  <a:gd name="connsiteY1" fmla="*/ 61058 h 104567"/>
                  <a:gd name="connsiteX2" fmla="*/ 12431 w 90307"/>
                  <a:gd name="connsiteY2" fmla="*/ 69468 h 104567"/>
                  <a:gd name="connsiteX3" fmla="*/ 47530 w 90307"/>
                  <a:gd name="connsiteY3" fmla="*/ 104567 h 104567"/>
                  <a:gd name="connsiteX4" fmla="*/ 82630 w 90307"/>
                  <a:gd name="connsiteY4" fmla="*/ 69468 h 104567"/>
                  <a:gd name="connsiteX5" fmla="*/ 81533 w 90307"/>
                  <a:gd name="connsiteY5" fmla="*/ 61058 h 104567"/>
                  <a:gd name="connsiteX6" fmla="*/ 84824 w 90307"/>
                  <a:gd name="connsiteY6" fmla="*/ 61058 h 104567"/>
                  <a:gd name="connsiteX7" fmla="*/ 84824 w 90307"/>
                  <a:gd name="connsiteY7" fmla="*/ 61058 h 104567"/>
                  <a:gd name="connsiteX8" fmla="*/ 90308 w 90307"/>
                  <a:gd name="connsiteY8" fmla="*/ 55574 h 104567"/>
                  <a:gd name="connsiteX9" fmla="*/ 84824 w 90307"/>
                  <a:gd name="connsiteY9" fmla="*/ 50090 h 104567"/>
                  <a:gd name="connsiteX10" fmla="*/ 78974 w 90307"/>
                  <a:gd name="connsiteY10" fmla="*/ 50090 h 104567"/>
                  <a:gd name="connsiteX11" fmla="*/ 78974 w 90307"/>
                  <a:gd name="connsiteY11" fmla="*/ 36928 h 104567"/>
                  <a:gd name="connsiteX12" fmla="*/ 58499 w 90307"/>
                  <a:gd name="connsiteY12" fmla="*/ 9506 h 104567"/>
                  <a:gd name="connsiteX13" fmla="*/ 58499 w 90307"/>
                  <a:gd name="connsiteY13" fmla="*/ 5484 h 104567"/>
                  <a:gd name="connsiteX14" fmla="*/ 53015 w 90307"/>
                  <a:gd name="connsiteY14" fmla="*/ 0 h 104567"/>
                  <a:gd name="connsiteX15" fmla="*/ 36928 w 90307"/>
                  <a:gd name="connsiteY15" fmla="*/ 0 h 104567"/>
                  <a:gd name="connsiteX16" fmla="*/ 31443 w 90307"/>
                  <a:gd name="connsiteY16" fmla="*/ 5484 h 104567"/>
                  <a:gd name="connsiteX17" fmla="*/ 31443 w 90307"/>
                  <a:gd name="connsiteY17" fmla="*/ 10969 h 104567"/>
                  <a:gd name="connsiteX18" fmla="*/ 13528 w 90307"/>
                  <a:gd name="connsiteY18" fmla="*/ 37659 h 104567"/>
                  <a:gd name="connsiteX19" fmla="*/ 13528 w 90307"/>
                  <a:gd name="connsiteY19" fmla="*/ 50455 h 104567"/>
                  <a:gd name="connsiteX20" fmla="*/ 5484 w 90307"/>
                  <a:gd name="connsiteY20" fmla="*/ 50455 h 104567"/>
                  <a:gd name="connsiteX21" fmla="*/ 5484 w 90307"/>
                  <a:gd name="connsiteY21" fmla="*/ 50455 h 104567"/>
                  <a:gd name="connsiteX22" fmla="*/ 0 w 90307"/>
                  <a:gd name="connsiteY22" fmla="*/ 55940 h 104567"/>
                  <a:gd name="connsiteX23" fmla="*/ 5850 w 90307"/>
                  <a:gd name="connsiteY23" fmla="*/ 61058 h 104567"/>
                  <a:gd name="connsiteX24" fmla="*/ 71661 w 90307"/>
                  <a:gd name="connsiteY24" fmla="*/ 69833 h 104567"/>
                  <a:gd name="connsiteX25" fmla="*/ 47530 w 90307"/>
                  <a:gd name="connsiteY25" fmla="*/ 93964 h 104567"/>
                  <a:gd name="connsiteX26" fmla="*/ 23400 w 90307"/>
                  <a:gd name="connsiteY26" fmla="*/ 69833 h 104567"/>
                  <a:gd name="connsiteX27" fmla="*/ 24862 w 90307"/>
                  <a:gd name="connsiteY27" fmla="*/ 61424 h 104567"/>
                  <a:gd name="connsiteX28" fmla="*/ 43509 w 90307"/>
                  <a:gd name="connsiteY28" fmla="*/ 61424 h 104567"/>
                  <a:gd name="connsiteX29" fmla="*/ 70199 w 90307"/>
                  <a:gd name="connsiteY29" fmla="*/ 61424 h 104567"/>
                  <a:gd name="connsiteX30" fmla="*/ 71661 w 90307"/>
                  <a:gd name="connsiteY30" fmla="*/ 69833 h 104567"/>
                  <a:gd name="connsiteX31" fmla="*/ 24862 w 90307"/>
                  <a:gd name="connsiteY31" fmla="*/ 37293 h 104567"/>
                  <a:gd name="connsiteX32" fmla="*/ 31809 w 90307"/>
                  <a:gd name="connsiteY32" fmla="*/ 23400 h 104567"/>
                  <a:gd name="connsiteX33" fmla="*/ 31809 w 90307"/>
                  <a:gd name="connsiteY33" fmla="*/ 25593 h 104567"/>
                  <a:gd name="connsiteX34" fmla="*/ 37293 w 90307"/>
                  <a:gd name="connsiteY34" fmla="*/ 31078 h 104567"/>
                  <a:gd name="connsiteX35" fmla="*/ 42777 w 90307"/>
                  <a:gd name="connsiteY35" fmla="*/ 25593 h 104567"/>
                  <a:gd name="connsiteX36" fmla="*/ 42777 w 90307"/>
                  <a:gd name="connsiteY36" fmla="*/ 14990 h 104567"/>
                  <a:gd name="connsiteX37" fmla="*/ 42777 w 90307"/>
                  <a:gd name="connsiteY37" fmla="*/ 14625 h 104567"/>
                  <a:gd name="connsiteX38" fmla="*/ 42777 w 90307"/>
                  <a:gd name="connsiteY38" fmla="*/ 10969 h 104567"/>
                  <a:gd name="connsiteX39" fmla="*/ 47896 w 90307"/>
                  <a:gd name="connsiteY39" fmla="*/ 10969 h 104567"/>
                  <a:gd name="connsiteX40" fmla="*/ 47896 w 90307"/>
                  <a:gd name="connsiteY40" fmla="*/ 25593 h 104567"/>
                  <a:gd name="connsiteX41" fmla="*/ 53380 w 90307"/>
                  <a:gd name="connsiteY41" fmla="*/ 31078 h 104567"/>
                  <a:gd name="connsiteX42" fmla="*/ 58865 w 90307"/>
                  <a:gd name="connsiteY42" fmla="*/ 25593 h 104567"/>
                  <a:gd name="connsiteX43" fmla="*/ 58865 w 90307"/>
                  <a:gd name="connsiteY43" fmla="*/ 21937 h 104567"/>
                  <a:gd name="connsiteX44" fmla="*/ 68371 w 90307"/>
                  <a:gd name="connsiteY44" fmla="*/ 37293 h 104567"/>
                  <a:gd name="connsiteX45" fmla="*/ 68371 w 90307"/>
                  <a:gd name="connsiteY45" fmla="*/ 50090 h 104567"/>
                  <a:gd name="connsiteX46" fmla="*/ 43509 w 90307"/>
                  <a:gd name="connsiteY46" fmla="*/ 50090 h 104567"/>
                  <a:gd name="connsiteX47" fmla="*/ 25228 w 90307"/>
                  <a:gd name="connsiteY47" fmla="*/ 50090 h 104567"/>
                  <a:gd name="connsiteX48" fmla="*/ 25228 w 90307"/>
                  <a:gd name="connsiteY48" fmla="*/ 37293 h 104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90307" h="104567">
                    <a:moveTo>
                      <a:pt x="5850" y="61058"/>
                    </a:moveTo>
                    <a:lnTo>
                      <a:pt x="13528" y="61058"/>
                    </a:lnTo>
                    <a:cubicBezTo>
                      <a:pt x="12797" y="63983"/>
                      <a:pt x="12431" y="66543"/>
                      <a:pt x="12431" y="69468"/>
                    </a:cubicBezTo>
                    <a:cubicBezTo>
                      <a:pt x="12431" y="88845"/>
                      <a:pt x="28153" y="104567"/>
                      <a:pt x="47530" y="104567"/>
                    </a:cubicBezTo>
                    <a:cubicBezTo>
                      <a:pt x="66908" y="104567"/>
                      <a:pt x="82630" y="88845"/>
                      <a:pt x="82630" y="69468"/>
                    </a:cubicBezTo>
                    <a:cubicBezTo>
                      <a:pt x="82630" y="66543"/>
                      <a:pt x="82264" y="63983"/>
                      <a:pt x="81533" y="61058"/>
                    </a:cubicBezTo>
                    <a:lnTo>
                      <a:pt x="84824" y="61058"/>
                    </a:lnTo>
                    <a:cubicBezTo>
                      <a:pt x="84824" y="61058"/>
                      <a:pt x="84824" y="61058"/>
                      <a:pt x="84824" y="61058"/>
                    </a:cubicBezTo>
                    <a:cubicBezTo>
                      <a:pt x="87749" y="61058"/>
                      <a:pt x="90308" y="58499"/>
                      <a:pt x="90308" y="55574"/>
                    </a:cubicBezTo>
                    <a:cubicBezTo>
                      <a:pt x="90308" y="52649"/>
                      <a:pt x="87749" y="50090"/>
                      <a:pt x="84824" y="50090"/>
                    </a:cubicBezTo>
                    <a:lnTo>
                      <a:pt x="78974" y="50090"/>
                    </a:lnTo>
                    <a:lnTo>
                      <a:pt x="78974" y="36928"/>
                    </a:lnTo>
                    <a:cubicBezTo>
                      <a:pt x="78974" y="24131"/>
                      <a:pt x="70564" y="13162"/>
                      <a:pt x="58499" y="9506"/>
                    </a:cubicBezTo>
                    <a:lnTo>
                      <a:pt x="58499" y="5484"/>
                    </a:lnTo>
                    <a:cubicBezTo>
                      <a:pt x="58499" y="2559"/>
                      <a:pt x="55940" y="0"/>
                      <a:pt x="53015" y="0"/>
                    </a:cubicBezTo>
                    <a:lnTo>
                      <a:pt x="36928" y="0"/>
                    </a:lnTo>
                    <a:cubicBezTo>
                      <a:pt x="34003" y="0"/>
                      <a:pt x="31443" y="2559"/>
                      <a:pt x="31443" y="5484"/>
                    </a:cubicBezTo>
                    <a:lnTo>
                      <a:pt x="31443" y="10969"/>
                    </a:lnTo>
                    <a:cubicBezTo>
                      <a:pt x="20840" y="15356"/>
                      <a:pt x="13528" y="25593"/>
                      <a:pt x="13528" y="37659"/>
                    </a:cubicBezTo>
                    <a:lnTo>
                      <a:pt x="13528" y="50455"/>
                    </a:lnTo>
                    <a:lnTo>
                      <a:pt x="5484" y="50455"/>
                    </a:lnTo>
                    <a:cubicBezTo>
                      <a:pt x="5484" y="50455"/>
                      <a:pt x="5484" y="50455"/>
                      <a:pt x="5484" y="50455"/>
                    </a:cubicBezTo>
                    <a:cubicBezTo>
                      <a:pt x="2559" y="50455"/>
                      <a:pt x="0" y="53015"/>
                      <a:pt x="0" y="55940"/>
                    </a:cubicBezTo>
                    <a:cubicBezTo>
                      <a:pt x="366" y="58499"/>
                      <a:pt x="2559" y="61058"/>
                      <a:pt x="5850" y="61058"/>
                    </a:cubicBezTo>
                    <a:close/>
                    <a:moveTo>
                      <a:pt x="71661" y="69833"/>
                    </a:moveTo>
                    <a:cubicBezTo>
                      <a:pt x="71661" y="82996"/>
                      <a:pt x="60693" y="93964"/>
                      <a:pt x="47530" y="93964"/>
                    </a:cubicBezTo>
                    <a:cubicBezTo>
                      <a:pt x="34368" y="93964"/>
                      <a:pt x="23400" y="82996"/>
                      <a:pt x="23400" y="69833"/>
                    </a:cubicBezTo>
                    <a:cubicBezTo>
                      <a:pt x="23400" y="66908"/>
                      <a:pt x="23765" y="63983"/>
                      <a:pt x="24862" y="61424"/>
                    </a:cubicBezTo>
                    <a:lnTo>
                      <a:pt x="43509" y="61424"/>
                    </a:lnTo>
                    <a:lnTo>
                      <a:pt x="70199" y="61424"/>
                    </a:lnTo>
                    <a:cubicBezTo>
                      <a:pt x="70930" y="63983"/>
                      <a:pt x="71661" y="66908"/>
                      <a:pt x="71661" y="69833"/>
                    </a:cubicBezTo>
                    <a:close/>
                    <a:moveTo>
                      <a:pt x="24862" y="37293"/>
                    </a:moveTo>
                    <a:cubicBezTo>
                      <a:pt x="24862" y="31809"/>
                      <a:pt x="27421" y="26690"/>
                      <a:pt x="31809" y="23400"/>
                    </a:cubicBezTo>
                    <a:lnTo>
                      <a:pt x="31809" y="25593"/>
                    </a:lnTo>
                    <a:cubicBezTo>
                      <a:pt x="31809" y="28518"/>
                      <a:pt x="34368" y="31078"/>
                      <a:pt x="37293" y="31078"/>
                    </a:cubicBezTo>
                    <a:cubicBezTo>
                      <a:pt x="40218" y="31078"/>
                      <a:pt x="42777" y="28518"/>
                      <a:pt x="42777" y="25593"/>
                    </a:cubicBezTo>
                    <a:lnTo>
                      <a:pt x="42777" y="14990"/>
                    </a:lnTo>
                    <a:cubicBezTo>
                      <a:pt x="42777" y="14990"/>
                      <a:pt x="42777" y="14625"/>
                      <a:pt x="42777" y="14625"/>
                    </a:cubicBezTo>
                    <a:lnTo>
                      <a:pt x="42777" y="10969"/>
                    </a:lnTo>
                    <a:lnTo>
                      <a:pt x="47896" y="10969"/>
                    </a:lnTo>
                    <a:lnTo>
                      <a:pt x="47896" y="25593"/>
                    </a:lnTo>
                    <a:cubicBezTo>
                      <a:pt x="47896" y="28518"/>
                      <a:pt x="50455" y="31078"/>
                      <a:pt x="53380" y="31078"/>
                    </a:cubicBezTo>
                    <a:cubicBezTo>
                      <a:pt x="56305" y="31078"/>
                      <a:pt x="58865" y="28518"/>
                      <a:pt x="58865" y="25593"/>
                    </a:cubicBezTo>
                    <a:lnTo>
                      <a:pt x="58865" y="21937"/>
                    </a:lnTo>
                    <a:cubicBezTo>
                      <a:pt x="64715" y="24862"/>
                      <a:pt x="68371" y="30712"/>
                      <a:pt x="68371" y="37293"/>
                    </a:cubicBezTo>
                    <a:lnTo>
                      <a:pt x="68371" y="50090"/>
                    </a:lnTo>
                    <a:lnTo>
                      <a:pt x="43509" y="50090"/>
                    </a:lnTo>
                    <a:lnTo>
                      <a:pt x="25228" y="50090"/>
                    </a:lnTo>
                    <a:lnTo>
                      <a:pt x="25228" y="37293"/>
                    </a:lnTo>
                    <a:close/>
                  </a:path>
                </a:pathLst>
              </a:custGeom>
              <a:solidFill>
                <a:srgbClr val="231F20"/>
              </a:solidFill>
              <a:ln w="3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Graphic 346">
                <a:extLst>
                  <a:ext uri="{FF2B5EF4-FFF2-40B4-BE49-F238E27FC236}">
                    <a16:creationId xmlns:a16="http://schemas.microsoft.com/office/drawing/2014/main" id="{2E08C98B-5439-40F9-BDFE-226DAD105BB5}"/>
                  </a:ext>
                </a:extLst>
              </p:cNvPr>
              <p:cNvSpPr/>
              <p:nvPr/>
            </p:nvSpPr>
            <p:spPr>
              <a:xfrm>
                <a:off x="8206530" y="1487858"/>
                <a:ext cx="352184" cy="311181"/>
              </a:xfrm>
              <a:custGeom>
                <a:avLst/>
                <a:gdLst>
                  <a:gd name="connsiteX0" fmla="*/ 351966 w 352184"/>
                  <a:gd name="connsiteY0" fmla="*/ 156159 h 311181"/>
                  <a:gd name="connsiteX1" fmla="*/ 349041 w 352184"/>
                  <a:gd name="connsiteY1" fmla="*/ 153234 h 311181"/>
                  <a:gd name="connsiteX2" fmla="*/ 280304 w 352184"/>
                  <a:gd name="connsiteY2" fmla="*/ 123985 h 311181"/>
                  <a:gd name="connsiteX3" fmla="*/ 272992 w 352184"/>
                  <a:gd name="connsiteY3" fmla="*/ 126910 h 311181"/>
                  <a:gd name="connsiteX4" fmla="*/ 266045 w 352184"/>
                  <a:gd name="connsiteY4" fmla="*/ 142631 h 311181"/>
                  <a:gd name="connsiteX5" fmla="*/ 266045 w 352184"/>
                  <a:gd name="connsiteY5" fmla="*/ 146653 h 311181"/>
                  <a:gd name="connsiteX6" fmla="*/ 268970 w 352184"/>
                  <a:gd name="connsiteY6" fmla="*/ 149578 h 311181"/>
                  <a:gd name="connsiteX7" fmla="*/ 270433 w 352184"/>
                  <a:gd name="connsiteY7" fmla="*/ 150309 h 311181"/>
                  <a:gd name="connsiteX8" fmla="*/ 225827 w 352184"/>
                  <a:gd name="connsiteY8" fmla="*/ 211002 h 311181"/>
                  <a:gd name="connsiteX9" fmla="*/ 207912 w 352184"/>
                  <a:gd name="connsiteY9" fmla="*/ 229649 h 311181"/>
                  <a:gd name="connsiteX10" fmla="*/ 191093 w 352184"/>
                  <a:gd name="connsiteY10" fmla="*/ 228917 h 311181"/>
                  <a:gd name="connsiteX11" fmla="*/ 203159 w 352184"/>
                  <a:gd name="connsiteY11" fmla="*/ 138975 h 311181"/>
                  <a:gd name="connsiteX12" fmla="*/ 217783 w 352184"/>
                  <a:gd name="connsiteY12" fmla="*/ 131297 h 311181"/>
                  <a:gd name="connsiteX13" fmla="*/ 219977 w 352184"/>
                  <a:gd name="connsiteY13" fmla="*/ 123985 h 311181"/>
                  <a:gd name="connsiteX14" fmla="*/ 208277 w 352184"/>
                  <a:gd name="connsiteY14" fmla="*/ 101316 h 311181"/>
                  <a:gd name="connsiteX15" fmla="*/ 208277 w 352184"/>
                  <a:gd name="connsiteY15" fmla="*/ 101316 h 311181"/>
                  <a:gd name="connsiteX16" fmla="*/ 210471 w 352184"/>
                  <a:gd name="connsiteY16" fmla="*/ 84498 h 311181"/>
                  <a:gd name="connsiteX17" fmla="*/ 292370 w 352184"/>
                  <a:gd name="connsiteY17" fmla="*/ 94370 h 311181"/>
                  <a:gd name="connsiteX18" fmla="*/ 293101 w 352184"/>
                  <a:gd name="connsiteY18" fmla="*/ 94370 h 311181"/>
                  <a:gd name="connsiteX19" fmla="*/ 297488 w 352184"/>
                  <a:gd name="connsiteY19" fmla="*/ 92176 h 311181"/>
                  <a:gd name="connsiteX20" fmla="*/ 298220 w 352184"/>
                  <a:gd name="connsiteY20" fmla="*/ 86692 h 311181"/>
                  <a:gd name="connsiteX21" fmla="*/ 287251 w 352184"/>
                  <a:gd name="connsiteY21" fmla="*/ 57808 h 311181"/>
                  <a:gd name="connsiteX22" fmla="*/ 304801 w 352184"/>
                  <a:gd name="connsiteY22" fmla="*/ 32580 h 311181"/>
                  <a:gd name="connsiteX23" fmla="*/ 305166 w 352184"/>
                  <a:gd name="connsiteY23" fmla="*/ 27096 h 311181"/>
                  <a:gd name="connsiteX24" fmla="*/ 300779 w 352184"/>
                  <a:gd name="connsiteY24" fmla="*/ 23805 h 311181"/>
                  <a:gd name="connsiteX25" fmla="*/ 219612 w 352184"/>
                  <a:gd name="connsiteY25" fmla="*/ 13933 h 311181"/>
                  <a:gd name="connsiteX26" fmla="*/ 220708 w 352184"/>
                  <a:gd name="connsiteY26" fmla="*/ 6255 h 311181"/>
                  <a:gd name="connsiteX27" fmla="*/ 215955 w 352184"/>
                  <a:gd name="connsiteY27" fmla="*/ 40 h 311181"/>
                  <a:gd name="connsiteX28" fmla="*/ 209740 w 352184"/>
                  <a:gd name="connsiteY28" fmla="*/ 4793 h 311181"/>
                  <a:gd name="connsiteX29" fmla="*/ 197309 w 352184"/>
                  <a:gd name="connsiteY29" fmla="*/ 100585 h 311181"/>
                  <a:gd name="connsiteX30" fmla="*/ 160747 w 352184"/>
                  <a:gd name="connsiteY30" fmla="*/ 119597 h 311181"/>
                  <a:gd name="connsiteX31" fmla="*/ 141003 w 352184"/>
                  <a:gd name="connsiteY31" fmla="*/ 79379 h 311181"/>
                  <a:gd name="connsiteX32" fmla="*/ 136250 w 352184"/>
                  <a:gd name="connsiteY32" fmla="*/ 76454 h 311181"/>
                  <a:gd name="connsiteX33" fmla="*/ 59470 w 352184"/>
                  <a:gd name="connsiteY33" fmla="*/ 76454 h 311181"/>
                  <a:gd name="connsiteX34" fmla="*/ 54717 w 352184"/>
                  <a:gd name="connsiteY34" fmla="*/ 79379 h 311181"/>
                  <a:gd name="connsiteX35" fmla="*/ 606 w 352184"/>
                  <a:gd name="connsiteY35" fmla="*/ 182849 h 311181"/>
                  <a:gd name="connsiteX36" fmla="*/ 240 w 352184"/>
                  <a:gd name="connsiteY36" fmla="*/ 186871 h 311181"/>
                  <a:gd name="connsiteX37" fmla="*/ 2799 w 352184"/>
                  <a:gd name="connsiteY37" fmla="*/ 190162 h 311181"/>
                  <a:gd name="connsiteX38" fmla="*/ 25468 w 352184"/>
                  <a:gd name="connsiteY38" fmla="*/ 201862 h 311181"/>
                  <a:gd name="connsiteX39" fmla="*/ 29490 w 352184"/>
                  <a:gd name="connsiteY39" fmla="*/ 202227 h 311181"/>
                  <a:gd name="connsiteX40" fmla="*/ 32780 w 352184"/>
                  <a:gd name="connsiteY40" fmla="*/ 199668 h 311181"/>
                  <a:gd name="connsiteX41" fmla="*/ 53621 w 352184"/>
                  <a:gd name="connsiteY41" fmla="*/ 159450 h 311181"/>
                  <a:gd name="connsiteX42" fmla="*/ 53621 w 352184"/>
                  <a:gd name="connsiteY42" fmla="*/ 283760 h 311181"/>
                  <a:gd name="connsiteX43" fmla="*/ 53986 w 352184"/>
                  <a:gd name="connsiteY43" fmla="*/ 285223 h 311181"/>
                  <a:gd name="connsiteX44" fmla="*/ 38630 w 352184"/>
                  <a:gd name="connsiteY44" fmla="*/ 302041 h 311181"/>
                  <a:gd name="connsiteX45" fmla="*/ 39361 w 352184"/>
                  <a:gd name="connsiteY45" fmla="*/ 309719 h 311181"/>
                  <a:gd name="connsiteX46" fmla="*/ 47039 w 352184"/>
                  <a:gd name="connsiteY46" fmla="*/ 308988 h 311181"/>
                  <a:gd name="connsiteX47" fmla="*/ 188900 w 352184"/>
                  <a:gd name="connsiteY47" fmla="*/ 240252 h 311181"/>
                  <a:gd name="connsiteX48" fmla="*/ 330760 w 352184"/>
                  <a:gd name="connsiteY48" fmla="*/ 308988 h 311181"/>
                  <a:gd name="connsiteX49" fmla="*/ 335147 w 352184"/>
                  <a:gd name="connsiteY49" fmla="*/ 311182 h 311181"/>
                  <a:gd name="connsiteX50" fmla="*/ 338438 w 352184"/>
                  <a:gd name="connsiteY50" fmla="*/ 310085 h 311181"/>
                  <a:gd name="connsiteX51" fmla="*/ 339169 w 352184"/>
                  <a:gd name="connsiteY51" fmla="*/ 302407 h 311181"/>
                  <a:gd name="connsiteX52" fmla="*/ 321254 w 352184"/>
                  <a:gd name="connsiteY52" fmla="*/ 282663 h 311181"/>
                  <a:gd name="connsiteX53" fmla="*/ 322716 w 352184"/>
                  <a:gd name="connsiteY53" fmla="*/ 253048 h 311181"/>
                  <a:gd name="connsiteX54" fmla="*/ 335513 w 352184"/>
                  <a:gd name="connsiteY54" fmla="*/ 178828 h 311181"/>
                  <a:gd name="connsiteX55" fmla="*/ 336975 w 352184"/>
                  <a:gd name="connsiteY55" fmla="*/ 179559 h 311181"/>
                  <a:gd name="connsiteX56" fmla="*/ 339169 w 352184"/>
                  <a:gd name="connsiteY56" fmla="*/ 179924 h 311181"/>
                  <a:gd name="connsiteX57" fmla="*/ 344288 w 352184"/>
                  <a:gd name="connsiteY57" fmla="*/ 176634 h 311181"/>
                  <a:gd name="connsiteX58" fmla="*/ 351234 w 352184"/>
                  <a:gd name="connsiteY58" fmla="*/ 160547 h 311181"/>
                  <a:gd name="connsiteX59" fmla="*/ 351966 w 352184"/>
                  <a:gd name="connsiteY59" fmla="*/ 156159 h 311181"/>
                  <a:gd name="connsiteX60" fmla="*/ 276648 w 352184"/>
                  <a:gd name="connsiteY60" fmla="*/ 54151 h 311181"/>
                  <a:gd name="connsiteX61" fmla="*/ 275917 w 352184"/>
                  <a:gd name="connsiteY61" fmla="*/ 59270 h 311181"/>
                  <a:gd name="connsiteX62" fmla="*/ 284692 w 352184"/>
                  <a:gd name="connsiteY62" fmla="*/ 82304 h 311181"/>
                  <a:gd name="connsiteX63" fmla="*/ 212665 w 352184"/>
                  <a:gd name="connsiteY63" fmla="*/ 73529 h 311181"/>
                  <a:gd name="connsiteX64" fmla="*/ 218515 w 352184"/>
                  <a:gd name="connsiteY64" fmla="*/ 25268 h 311181"/>
                  <a:gd name="connsiteX65" fmla="*/ 290542 w 352184"/>
                  <a:gd name="connsiteY65" fmla="*/ 34042 h 311181"/>
                  <a:gd name="connsiteX66" fmla="*/ 276648 w 352184"/>
                  <a:gd name="connsiteY66" fmla="*/ 54151 h 311181"/>
                  <a:gd name="connsiteX67" fmla="*/ 179759 w 352184"/>
                  <a:gd name="connsiteY67" fmla="*/ 229283 h 311181"/>
                  <a:gd name="connsiteX68" fmla="*/ 141369 w 352184"/>
                  <a:gd name="connsiteY68" fmla="*/ 235133 h 311181"/>
                  <a:gd name="connsiteX69" fmla="*/ 141369 w 352184"/>
                  <a:gd name="connsiteY69" fmla="*/ 162009 h 311181"/>
                  <a:gd name="connsiteX70" fmla="*/ 142832 w 352184"/>
                  <a:gd name="connsiteY70" fmla="*/ 164934 h 311181"/>
                  <a:gd name="connsiteX71" fmla="*/ 146122 w 352184"/>
                  <a:gd name="connsiteY71" fmla="*/ 167493 h 311181"/>
                  <a:gd name="connsiteX72" fmla="*/ 150510 w 352184"/>
                  <a:gd name="connsiteY72" fmla="*/ 167128 h 311181"/>
                  <a:gd name="connsiteX73" fmla="*/ 191093 w 352184"/>
                  <a:gd name="connsiteY73" fmla="*/ 145191 h 311181"/>
                  <a:gd name="connsiteX74" fmla="*/ 179759 w 352184"/>
                  <a:gd name="connsiteY74" fmla="*/ 229283 h 311181"/>
                  <a:gd name="connsiteX75" fmla="*/ 60567 w 352184"/>
                  <a:gd name="connsiteY75" fmla="*/ 131297 h 311181"/>
                  <a:gd name="connsiteX76" fmla="*/ 54352 w 352184"/>
                  <a:gd name="connsiteY76" fmla="*/ 134222 h 311181"/>
                  <a:gd name="connsiteX77" fmla="*/ 25833 w 352184"/>
                  <a:gd name="connsiteY77" fmla="*/ 189796 h 311181"/>
                  <a:gd name="connsiteX78" fmla="*/ 12671 w 352184"/>
                  <a:gd name="connsiteY78" fmla="*/ 183215 h 311181"/>
                  <a:gd name="connsiteX79" fmla="*/ 62395 w 352184"/>
                  <a:gd name="connsiteY79" fmla="*/ 87788 h 311181"/>
                  <a:gd name="connsiteX80" fmla="*/ 132229 w 352184"/>
                  <a:gd name="connsiteY80" fmla="*/ 87788 h 311181"/>
                  <a:gd name="connsiteX81" fmla="*/ 153435 w 352184"/>
                  <a:gd name="connsiteY81" fmla="*/ 129469 h 311181"/>
                  <a:gd name="connsiteX82" fmla="*/ 156725 w 352184"/>
                  <a:gd name="connsiteY82" fmla="*/ 132394 h 311181"/>
                  <a:gd name="connsiteX83" fmla="*/ 161113 w 352184"/>
                  <a:gd name="connsiteY83" fmla="*/ 132028 h 311181"/>
                  <a:gd name="connsiteX84" fmla="*/ 201331 w 352184"/>
                  <a:gd name="connsiteY84" fmla="*/ 111554 h 311181"/>
                  <a:gd name="connsiteX85" fmla="*/ 207912 w 352184"/>
                  <a:gd name="connsiteY85" fmla="*/ 124716 h 311181"/>
                  <a:gd name="connsiteX86" fmla="*/ 150144 w 352184"/>
                  <a:gd name="connsiteY86" fmla="*/ 155428 h 311181"/>
                  <a:gd name="connsiteX87" fmla="*/ 141003 w 352184"/>
                  <a:gd name="connsiteY87" fmla="*/ 137513 h 311181"/>
                  <a:gd name="connsiteX88" fmla="*/ 134788 w 352184"/>
                  <a:gd name="connsiteY88" fmla="*/ 134588 h 311181"/>
                  <a:gd name="connsiteX89" fmla="*/ 130766 w 352184"/>
                  <a:gd name="connsiteY89" fmla="*/ 140072 h 311181"/>
                  <a:gd name="connsiteX90" fmla="*/ 130766 w 352184"/>
                  <a:gd name="connsiteY90" fmla="*/ 238789 h 311181"/>
                  <a:gd name="connsiteX91" fmla="*/ 103345 w 352184"/>
                  <a:gd name="connsiteY91" fmla="*/ 250123 h 311181"/>
                  <a:gd name="connsiteX92" fmla="*/ 103345 w 352184"/>
                  <a:gd name="connsiteY92" fmla="*/ 186140 h 311181"/>
                  <a:gd name="connsiteX93" fmla="*/ 97860 w 352184"/>
                  <a:gd name="connsiteY93" fmla="*/ 180656 h 311181"/>
                  <a:gd name="connsiteX94" fmla="*/ 92376 w 352184"/>
                  <a:gd name="connsiteY94" fmla="*/ 186140 h 311181"/>
                  <a:gd name="connsiteX95" fmla="*/ 92376 w 352184"/>
                  <a:gd name="connsiteY95" fmla="*/ 254145 h 311181"/>
                  <a:gd name="connsiteX96" fmla="*/ 92376 w 352184"/>
                  <a:gd name="connsiteY96" fmla="*/ 255242 h 311181"/>
                  <a:gd name="connsiteX97" fmla="*/ 64955 w 352184"/>
                  <a:gd name="connsiteY97" fmla="*/ 274985 h 311181"/>
                  <a:gd name="connsiteX98" fmla="*/ 64955 w 352184"/>
                  <a:gd name="connsiteY98" fmla="*/ 136781 h 311181"/>
                  <a:gd name="connsiteX99" fmla="*/ 60567 w 352184"/>
                  <a:gd name="connsiteY99" fmla="*/ 131297 h 311181"/>
                  <a:gd name="connsiteX100" fmla="*/ 312479 w 352184"/>
                  <a:gd name="connsiteY100" fmla="*/ 252317 h 311181"/>
                  <a:gd name="connsiteX101" fmla="*/ 311748 w 352184"/>
                  <a:gd name="connsiteY101" fmla="*/ 272792 h 311181"/>
                  <a:gd name="connsiteX102" fmla="*/ 221440 w 352184"/>
                  <a:gd name="connsiteY102" fmla="*/ 231477 h 311181"/>
                  <a:gd name="connsiteX103" fmla="*/ 233871 w 352184"/>
                  <a:gd name="connsiteY103" fmla="*/ 218680 h 311181"/>
                  <a:gd name="connsiteX104" fmla="*/ 281036 w 352184"/>
                  <a:gd name="connsiteY104" fmla="*/ 154697 h 311181"/>
                  <a:gd name="connsiteX105" fmla="*/ 326007 w 352184"/>
                  <a:gd name="connsiteY105" fmla="*/ 174440 h 311181"/>
                  <a:gd name="connsiteX106" fmla="*/ 312479 w 352184"/>
                  <a:gd name="connsiteY106" fmla="*/ 252317 h 311181"/>
                  <a:gd name="connsiteX107" fmla="*/ 336975 w 352184"/>
                  <a:gd name="connsiteY107" fmla="*/ 167128 h 311181"/>
                  <a:gd name="connsiteX108" fmla="*/ 278476 w 352184"/>
                  <a:gd name="connsiteY108" fmla="*/ 142266 h 311181"/>
                  <a:gd name="connsiteX109" fmla="*/ 281036 w 352184"/>
                  <a:gd name="connsiteY109" fmla="*/ 136416 h 311181"/>
                  <a:gd name="connsiteX110" fmla="*/ 339535 w 352184"/>
                  <a:gd name="connsiteY110" fmla="*/ 161278 h 311181"/>
                  <a:gd name="connsiteX111" fmla="*/ 336975 w 352184"/>
                  <a:gd name="connsiteY111" fmla="*/ 167128 h 3111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352184" h="311181">
                    <a:moveTo>
                      <a:pt x="351966" y="156159"/>
                    </a:moveTo>
                    <a:cubicBezTo>
                      <a:pt x="351600" y="154697"/>
                      <a:pt x="350503" y="153600"/>
                      <a:pt x="349041" y="153234"/>
                    </a:cubicBezTo>
                    <a:lnTo>
                      <a:pt x="280304" y="123985"/>
                    </a:lnTo>
                    <a:cubicBezTo>
                      <a:pt x="277379" y="122888"/>
                      <a:pt x="274454" y="123985"/>
                      <a:pt x="272992" y="126910"/>
                    </a:cubicBezTo>
                    <a:lnTo>
                      <a:pt x="266045" y="142631"/>
                    </a:lnTo>
                    <a:cubicBezTo>
                      <a:pt x="265314" y="144094"/>
                      <a:pt x="265314" y="145556"/>
                      <a:pt x="266045" y="146653"/>
                    </a:cubicBezTo>
                    <a:cubicBezTo>
                      <a:pt x="266776" y="147750"/>
                      <a:pt x="267508" y="149212"/>
                      <a:pt x="268970" y="149578"/>
                    </a:cubicBezTo>
                    <a:lnTo>
                      <a:pt x="270433" y="150309"/>
                    </a:lnTo>
                    <a:cubicBezTo>
                      <a:pt x="253614" y="182484"/>
                      <a:pt x="241549" y="194549"/>
                      <a:pt x="225827" y="211002"/>
                    </a:cubicBezTo>
                    <a:cubicBezTo>
                      <a:pt x="220708" y="216486"/>
                      <a:pt x="214493" y="222336"/>
                      <a:pt x="207912" y="229649"/>
                    </a:cubicBezTo>
                    <a:cubicBezTo>
                      <a:pt x="202427" y="229283"/>
                      <a:pt x="196578" y="228917"/>
                      <a:pt x="191093" y="228917"/>
                    </a:cubicBezTo>
                    <a:lnTo>
                      <a:pt x="203159" y="138975"/>
                    </a:lnTo>
                    <a:lnTo>
                      <a:pt x="217783" y="131297"/>
                    </a:lnTo>
                    <a:cubicBezTo>
                      <a:pt x="220343" y="129835"/>
                      <a:pt x="221440" y="126544"/>
                      <a:pt x="219977" y="123985"/>
                    </a:cubicBezTo>
                    <a:lnTo>
                      <a:pt x="208277" y="101316"/>
                    </a:lnTo>
                    <a:cubicBezTo>
                      <a:pt x="208277" y="101316"/>
                      <a:pt x="208277" y="101316"/>
                      <a:pt x="208277" y="101316"/>
                    </a:cubicBezTo>
                    <a:lnTo>
                      <a:pt x="210471" y="84498"/>
                    </a:lnTo>
                    <a:lnTo>
                      <a:pt x="292370" y="94370"/>
                    </a:lnTo>
                    <a:cubicBezTo>
                      <a:pt x="292735" y="94370"/>
                      <a:pt x="292735" y="94370"/>
                      <a:pt x="293101" y="94370"/>
                    </a:cubicBezTo>
                    <a:cubicBezTo>
                      <a:pt x="294929" y="94370"/>
                      <a:pt x="296392" y="93638"/>
                      <a:pt x="297488" y="92176"/>
                    </a:cubicBezTo>
                    <a:cubicBezTo>
                      <a:pt x="298585" y="90713"/>
                      <a:pt x="298951" y="88520"/>
                      <a:pt x="298220" y="86692"/>
                    </a:cubicBezTo>
                    <a:lnTo>
                      <a:pt x="287251" y="57808"/>
                    </a:lnTo>
                    <a:lnTo>
                      <a:pt x="304801" y="32580"/>
                    </a:lnTo>
                    <a:cubicBezTo>
                      <a:pt x="305898" y="31117"/>
                      <a:pt x="305898" y="28924"/>
                      <a:pt x="305166" y="27096"/>
                    </a:cubicBezTo>
                    <a:cubicBezTo>
                      <a:pt x="304435" y="25268"/>
                      <a:pt x="302607" y="24171"/>
                      <a:pt x="300779" y="23805"/>
                    </a:cubicBezTo>
                    <a:lnTo>
                      <a:pt x="219612" y="13933"/>
                    </a:lnTo>
                    <a:lnTo>
                      <a:pt x="220708" y="6255"/>
                    </a:lnTo>
                    <a:cubicBezTo>
                      <a:pt x="221074" y="3330"/>
                      <a:pt x="218880" y="405"/>
                      <a:pt x="215955" y="40"/>
                    </a:cubicBezTo>
                    <a:cubicBezTo>
                      <a:pt x="213030" y="-326"/>
                      <a:pt x="210105" y="1868"/>
                      <a:pt x="209740" y="4793"/>
                    </a:cubicBezTo>
                    <a:lnTo>
                      <a:pt x="197309" y="100585"/>
                    </a:lnTo>
                    <a:lnTo>
                      <a:pt x="160747" y="119597"/>
                    </a:lnTo>
                    <a:lnTo>
                      <a:pt x="141003" y="79379"/>
                    </a:lnTo>
                    <a:cubicBezTo>
                      <a:pt x="139907" y="77551"/>
                      <a:pt x="138079" y="76454"/>
                      <a:pt x="136250" y="76454"/>
                    </a:cubicBezTo>
                    <a:lnTo>
                      <a:pt x="59470" y="76454"/>
                    </a:lnTo>
                    <a:cubicBezTo>
                      <a:pt x="57277" y="76454"/>
                      <a:pt x="55449" y="77551"/>
                      <a:pt x="54717" y="79379"/>
                    </a:cubicBezTo>
                    <a:lnTo>
                      <a:pt x="606" y="182849"/>
                    </a:lnTo>
                    <a:cubicBezTo>
                      <a:pt x="-125" y="184312"/>
                      <a:pt x="-125" y="185774"/>
                      <a:pt x="240" y="186871"/>
                    </a:cubicBezTo>
                    <a:cubicBezTo>
                      <a:pt x="606" y="188334"/>
                      <a:pt x="1703" y="189431"/>
                      <a:pt x="2799" y="190162"/>
                    </a:cubicBezTo>
                    <a:lnTo>
                      <a:pt x="25468" y="201862"/>
                    </a:lnTo>
                    <a:cubicBezTo>
                      <a:pt x="26930" y="202593"/>
                      <a:pt x="28393" y="202593"/>
                      <a:pt x="29490" y="202227"/>
                    </a:cubicBezTo>
                    <a:cubicBezTo>
                      <a:pt x="30952" y="201862"/>
                      <a:pt x="32049" y="200765"/>
                      <a:pt x="32780" y="199668"/>
                    </a:cubicBezTo>
                    <a:lnTo>
                      <a:pt x="53621" y="159450"/>
                    </a:lnTo>
                    <a:lnTo>
                      <a:pt x="53621" y="283760"/>
                    </a:lnTo>
                    <a:cubicBezTo>
                      <a:pt x="53621" y="284126"/>
                      <a:pt x="53621" y="284857"/>
                      <a:pt x="53986" y="285223"/>
                    </a:cubicBezTo>
                    <a:cubicBezTo>
                      <a:pt x="48502" y="290707"/>
                      <a:pt x="43383" y="296191"/>
                      <a:pt x="38630" y="302041"/>
                    </a:cubicBezTo>
                    <a:cubicBezTo>
                      <a:pt x="36802" y="304235"/>
                      <a:pt x="37168" y="307891"/>
                      <a:pt x="39361" y="309719"/>
                    </a:cubicBezTo>
                    <a:cubicBezTo>
                      <a:pt x="41555" y="311547"/>
                      <a:pt x="45211" y="311182"/>
                      <a:pt x="47039" y="308988"/>
                    </a:cubicBezTo>
                    <a:cubicBezTo>
                      <a:pt x="81773" y="265114"/>
                      <a:pt x="133325" y="240252"/>
                      <a:pt x="188900" y="240252"/>
                    </a:cubicBezTo>
                    <a:cubicBezTo>
                      <a:pt x="244474" y="240252"/>
                      <a:pt x="296392" y="265479"/>
                      <a:pt x="330760" y="308988"/>
                    </a:cubicBezTo>
                    <a:cubicBezTo>
                      <a:pt x="331857" y="310450"/>
                      <a:pt x="333319" y="311182"/>
                      <a:pt x="335147" y="311182"/>
                    </a:cubicBezTo>
                    <a:cubicBezTo>
                      <a:pt x="336244" y="311182"/>
                      <a:pt x="337707" y="310816"/>
                      <a:pt x="338438" y="310085"/>
                    </a:cubicBezTo>
                    <a:cubicBezTo>
                      <a:pt x="340631" y="308257"/>
                      <a:pt x="341363" y="304601"/>
                      <a:pt x="339169" y="302407"/>
                    </a:cubicBezTo>
                    <a:cubicBezTo>
                      <a:pt x="333685" y="295460"/>
                      <a:pt x="327469" y="288879"/>
                      <a:pt x="321254" y="282663"/>
                    </a:cubicBezTo>
                    <a:cubicBezTo>
                      <a:pt x="322351" y="271329"/>
                      <a:pt x="322351" y="261823"/>
                      <a:pt x="322716" y="253048"/>
                    </a:cubicBezTo>
                    <a:cubicBezTo>
                      <a:pt x="323447" y="230380"/>
                      <a:pt x="323813" y="213561"/>
                      <a:pt x="335513" y="178828"/>
                    </a:cubicBezTo>
                    <a:lnTo>
                      <a:pt x="336975" y="179559"/>
                    </a:lnTo>
                    <a:cubicBezTo>
                      <a:pt x="337707" y="179924"/>
                      <a:pt x="338438" y="179924"/>
                      <a:pt x="339169" y="179924"/>
                    </a:cubicBezTo>
                    <a:cubicBezTo>
                      <a:pt x="341363" y="179924"/>
                      <a:pt x="343191" y="178828"/>
                      <a:pt x="344288" y="176634"/>
                    </a:cubicBezTo>
                    <a:lnTo>
                      <a:pt x="351234" y="160547"/>
                    </a:lnTo>
                    <a:cubicBezTo>
                      <a:pt x="352331" y="159084"/>
                      <a:pt x="352331" y="157622"/>
                      <a:pt x="351966" y="156159"/>
                    </a:cubicBezTo>
                    <a:close/>
                    <a:moveTo>
                      <a:pt x="276648" y="54151"/>
                    </a:moveTo>
                    <a:cubicBezTo>
                      <a:pt x="275551" y="55614"/>
                      <a:pt x="275551" y="57442"/>
                      <a:pt x="275917" y="59270"/>
                    </a:cubicBezTo>
                    <a:lnTo>
                      <a:pt x="284692" y="82304"/>
                    </a:lnTo>
                    <a:lnTo>
                      <a:pt x="212665" y="73529"/>
                    </a:lnTo>
                    <a:lnTo>
                      <a:pt x="218515" y="25268"/>
                    </a:lnTo>
                    <a:lnTo>
                      <a:pt x="290542" y="34042"/>
                    </a:lnTo>
                    <a:lnTo>
                      <a:pt x="276648" y="54151"/>
                    </a:lnTo>
                    <a:close/>
                    <a:moveTo>
                      <a:pt x="179759" y="229283"/>
                    </a:moveTo>
                    <a:cubicBezTo>
                      <a:pt x="166597" y="230014"/>
                      <a:pt x="153800" y="231842"/>
                      <a:pt x="141369" y="235133"/>
                    </a:cubicBezTo>
                    <a:lnTo>
                      <a:pt x="141369" y="162009"/>
                    </a:lnTo>
                    <a:lnTo>
                      <a:pt x="142832" y="164934"/>
                    </a:lnTo>
                    <a:cubicBezTo>
                      <a:pt x="143563" y="166397"/>
                      <a:pt x="144660" y="167128"/>
                      <a:pt x="146122" y="167493"/>
                    </a:cubicBezTo>
                    <a:cubicBezTo>
                      <a:pt x="147585" y="167859"/>
                      <a:pt x="149047" y="167859"/>
                      <a:pt x="150510" y="167128"/>
                    </a:cubicBezTo>
                    <a:lnTo>
                      <a:pt x="191093" y="145191"/>
                    </a:lnTo>
                    <a:lnTo>
                      <a:pt x="179759" y="229283"/>
                    </a:lnTo>
                    <a:close/>
                    <a:moveTo>
                      <a:pt x="60567" y="131297"/>
                    </a:moveTo>
                    <a:cubicBezTo>
                      <a:pt x="58008" y="130566"/>
                      <a:pt x="55449" y="132028"/>
                      <a:pt x="54352" y="134222"/>
                    </a:cubicBezTo>
                    <a:lnTo>
                      <a:pt x="25833" y="189796"/>
                    </a:lnTo>
                    <a:lnTo>
                      <a:pt x="12671" y="183215"/>
                    </a:lnTo>
                    <a:lnTo>
                      <a:pt x="62395" y="87788"/>
                    </a:lnTo>
                    <a:lnTo>
                      <a:pt x="132229" y="87788"/>
                    </a:lnTo>
                    <a:lnTo>
                      <a:pt x="153435" y="129469"/>
                    </a:lnTo>
                    <a:cubicBezTo>
                      <a:pt x="154166" y="130931"/>
                      <a:pt x="155263" y="131663"/>
                      <a:pt x="156725" y="132394"/>
                    </a:cubicBezTo>
                    <a:cubicBezTo>
                      <a:pt x="158188" y="132760"/>
                      <a:pt x="159650" y="132760"/>
                      <a:pt x="161113" y="132028"/>
                    </a:cubicBezTo>
                    <a:lnTo>
                      <a:pt x="201331" y="111554"/>
                    </a:lnTo>
                    <a:lnTo>
                      <a:pt x="207912" y="124716"/>
                    </a:lnTo>
                    <a:lnTo>
                      <a:pt x="150144" y="155428"/>
                    </a:lnTo>
                    <a:lnTo>
                      <a:pt x="141003" y="137513"/>
                    </a:lnTo>
                    <a:cubicBezTo>
                      <a:pt x="139907" y="135319"/>
                      <a:pt x="137347" y="134222"/>
                      <a:pt x="134788" y="134588"/>
                    </a:cubicBezTo>
                    <a:cubicBezTo>
                      <a:pt x="132229" y="135319"/>
                      <a:pt x="130766" y="137513"/>
                      <a:pt x="130766" y="140072"/>
                    </a:cubicBezTo>
                    <a:lnTo>
                      <a:pt x="130766" y="238789"/>
                    </a:lnTo>
                    <a:cubicBezTo>
                      <a:pt x="121260" y="241714"/>
                      <a:pt x="112120" y="245370"/>
                      <a:pt x="103345" y="250123"/>
                    </a:cubicBezTo>
                    <a:lnTo>
                      <a:pt x="103345" y="186140"/>
                    </a:lnTo>
                    <a:cubicBezTo>
                      <a:pt x="103345" y="183215"/>
                      <a:pt x="100785" y="180656"/>
                      <a:pt x="97860" y="180656"/>
                    </a:cubicBezTo>
                    <a:cubicBezTo>
                      <a:pt x="94935" y="180656"/>
                      <a:pt x="92376" y="183215"/>
                      <a:pt x="92376" y="186140"/>
                    </a:cubicBezTo>
                    <a:lnTo>
                      <a:pt x="92376" y="254145"/>
                    </a:lnTo>
                    <a:cubicBezTo>
                      <a:pt x="92376" y="254511"/>
                      <a:pt x="92376" y="254876"/>
                      <a:pt x="92376" y="255242"/>
                    </a:cubicBezTo>
                    <a:cubicBezTo>
                      <a:pt x="82870" y="261092"/>
                      <a:pt x="73364" y="267673"/>
                      <a:pt x="64955" y="274985"/>
                    </a:cubicBezTo>
                    <a:lnTo>
                      <a:pt x="64955" y="136781"/>
                    </a:lnTo>
                    <a:cubicBezTo>
                      <a:pt x="64589" y="134222"/>
                      <a:pt x="63127" y="132028"/>
                      <a:pt x="60567" y="131297"/>
                    </a:cubicBezTo>
                    <a:close/>
                    <a:moveTo>
                      <a:pt x="312479" y="252317"/>
                    </a:moveTo>
                    <a:cubicBezTo>
                      <a:pt x="312113" y="258898"/>
                      <a:pt x="312113" y="265479"/>
                      <a:pt x="311748" y="272792"/>
                    </a:cubicBezTo>
                    <a:cubicBezTo>
                      <a:pt x="285789" y="251220"/>
                      <a:pt x="254711" y="236961"/>
                      <a:pt x="221440" y="231477"/>
                    </a:cubicBezTo>
                    <a:cubicBezTo>
                      <a:pt x="225827" y="226724"/>
                      <a:pt x="229849" y="222702"/>
                      <a:pt x="233871" y="218680"/>
                    </a:cubicBezTo>
                    <a:cubicBezTo>
                      <a:pt x="249958" y="202227"/>
                      <a:pt x="263120" y="189065"/>
                      <a:pt x="281036" y="154697"/>
                    </a:cubicBezTo>
                    <a:lnTo>
                      <a:pt x="326007" y="174440"/>
                    </a:lnTo>
                    <a:cubicBezTo>
                      <a:pt x="313941" y="211002"/>
                      <a:pt x="313210" y="229283"/>
                      <a:pt x="312479" y="252317"/>
                    </a:cubicBezTo>
                    <a:close/>
                    <a:moveTo>
                      <a:pt x="336975" y="167128"/>
                    </a:moveTo>
                    <a:lnTo>
                      <a:pt x="278476" y="142266"/>
                    </a:lnTo>
                    <a:lnTo>
                      <a:pt x="281036" y="136416"/>
                    </a:lnTo>
                    <a:lnTo>
                      <a:pt x="339535" y="161278"/>
                    </a:lnTo>
                    <a:lnTo>
                      <a:pt x="336975" y="167128"/>
                    </a:lnTo>
                    <a:close/>
                  </a:path>
                </a:pathLst>
              </a:custGeom>
              <a:solidFill>
                <a:srgbClr val="231F20"/>
              </a:solidFill>
              <a:ln w="362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75BF5477-D413-434F-B3E0-1B25BAA4A838}"/>
              </a:ext>
            </a:extLst>
          </p:cNvPr>
          <p:cNvGrpSpPr/>
          <p:nvPr/>
        </p:nvGrpSpPr>
        <p:grpSpPr>
          <a:xfrm>
            <a:off x="922197" y="4874507"/>
            <a:ext cx="727741" cy="810955"/>
            <a:chOff x="818055" y="1804128"/>
            <a:chExt cx="550305" cy="550305"/>
          </a:xfrm>
        </p:grpSpPr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4F3BEA15-6B48-446C-95B8-75DBA9CC8A8D}"/>
                </a:ext>
              </a:extLst>
            </p:cNvPr>
            <p:cNvSpPr/>
            <p:nvPr/>
          </p:nvSpPr>
          <p:spPr>
            <a:xfrm>
              <a:off x="818055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Рисунок 40">
              <a:extLst>
                <a:ext uri="{FF2B5EF4-FFF2-40B4-BE49-F238E27FC236}">
                  <a16:creationId xmlns:a16="http://schemas.microsoft.com/office/drawing/2014/main" id="{6007302B-2BFB-47B9-9414-52A56F84A51E}"/>
                </a:ext>
              </a:extLst>
            </p:cNvPr>
            <p:cNvSpPr/>
            <p:nvPr/>
          </p:nvSpPr>
          <p:spPr>
            <a:xfrm>
              <a:off x="935094" y="1918662"/>
              <a:ext cx="306457" cy="328766"/>
            </a:xfrm>
            <a:custGeom>
              <a:avLst/>
              <a:gdLst>
                <a:gd name="connsiteX0" fmla="*/ 304056 w 306457"/>
                <a:gd name="connsiteY0" fmla="*/ 99461 h 328766"/>
                <a:gd name="connsiteX1" fmla="*/ 156226 w 306457"/>
                <a:gd name="connsiteY1" fmla="*/ 907 h 328766"/>
                <a:gd name="connsiteX2" fmla="*/ 150235 w 306457"/>
                <a:gd name="connsiteY2" fmla="*/ 907 h 328766"/>
                <a:gd name="connsiteX3" fmla="*/ 2405 w 306457"/>
                <a:gd name="connsiteY3" fmla="*/ 99461 h 328766"/>
                <a:gd name="connsiteX4" fmla="*/ 0 w 306457"/>
                <a:gd name="connsiteY4" fmla="*/ 103954 h 328766"/>
                <a:gd name="connsiteX5" fmla="*/ 2405 w 306457"/>
                <a:gd name="connsiteY5" fmla="*/ 108446 h 328766"/>
                <a:gd name="connsiteX6" fmla="*/ 24858 w 306457"/>
                <a:gd name="connsiteY6" fmla="*/ 123415 h 328766"/>
                <a:gd name="connsiteX7" fmla="*/ 24858 w 306457"/>
                <a:gd name="connsiteY7" fmla="*/ 202302 h 328766"/>
                <a:gd name="connsiteX8" fmla="*/ 27342 w 306457"/>
                <a:gd name="connsiteY8" fmla="*/ 206849 h 328766"/>
                <a:gd name="connsiteX9" fmla="*/ 151178 w 306457"/>
                <a:gd name="connsiteY9" fmla="*/ 286240 h 328766"/>
                <a:gd name="connsiteX10" fmla="*/ 154094 w 306457"/>
                <a:gd name="connsiteY10" fmla="*/ 287093 h 328766"/>
                <a:gd name="connsiteX11" fmla="*/ 157136 w 306457"/>
                <a:gd name="connsiteY11" fmla="*/ 286153 h 328766"/>
                <a:gd name="connsiteX12" fmla="*/ 221746 w 306457"/>
                <a:gd name="connsiteY12" fmla="*/ 242075 h 328766"/>
                <a:gd name="connsiteX13" fmla="*/ 221746 w 306457"/>
                <a:gd name="connsiteY13" fmla="*/ 272812 h 328766"/>
                <a:gd name="connsiteX14" fmla="*/ 197676 w 306457"/>
                <a:gd name="connsiteY14" fmla="*/ 320951 h 328766"/>
                <a:gd name="connsiteX15" fmla="*/ 197910 w 306457"/>
                <a:gd name="connsiteY15" fmla="*/ 326207 h 328766"/>
                <a:gd name="connsiteX16" fmla="*/ 202504 w 306457"/>
                <a:gd name="connsiteY16" fmla="*/ 328766 h 328766"/>
                <a:gd name="connsiteX17" fmla="*/ 251784 w 306457"/>
                <a:gd name="connsiteY17" fmla="*/ 328766 h 328766"/>
                <a:gd name="connsiteX18" fmla="*/ 256378 w 306457"/>
                <a:gd name="connsiteY18" fmla="*/ 326207 h 328766"/>
                <a:gd name="connsiteX19" fmla="*/ 256612 w 306457"/>
                <a:gd name="connsiteY19" fmla="*/ 320951 h 328766"/>
                <a:gd name="connsiteX20" fmla="*/ 232542 w 306457"/>
                <a:gd name="connsiteY20" fmla="*/ 272812 h 328766"/>
                <a:gd name="connsiteX21" fmla="*/ 232542 w 306457"/>
                <a:gd name="connsiteY21" fmla="*/ 234706 h 328766"/>
                <a:gd name="connsiteX22" fmla="*/ 273499 w 306457"/>
                <a:gd name="connsiteY22" fmla="*/ 206762 h 328766"/>
                <a:gd name="connsiteX23" fmla="*/ 275854 w 306457"/>
                <a:gd name="connsiteY23" fmla="*/ 202302 h 328766"/>
                <a:gd name="connsiteX24" fmla="*/ 275854 w 306457"/>
                <a:gd name="connsiteY24" fmla="*/ 127246 h 328766"/>
                <a:gd name="connsiteX25" fmla="*/ 304052 w 306457"/>
                <a:gd name="connsiteY25" fmla="*/ 108446 h 328766"/>
                <a:gd name="connsiteX26" fmla="*/ 306457 w 306457"/>
                <a:gd name="connsiteY26" fmla="*/ 103954 h 328766"/>
                <a:gd name="connsiteX27" fmla="*/ 304056 w 306457"/>
                <a:gd name="connsiteY27" fmla="*/ 99461 h 328766"/>
                <a:gd name="connsiteX28" fmla="*/ 211244 w 306457"/>
                <a:gd name="connsiteY28" fmla="*/ 317966 h 328766"/>
                <a:gd name="connsiteX29" fmla="*/ 227146 w 306457"/>
                <a:gd name="connsiteY29" fmla="*/ 286164 h 328766"/>
                <a:gd name="connsiteX30" fmla="*/ 243047 w 306457"/>
                <a:gd name="connsiteY30" fmla="*/ 317966 h 328766"/>
                <a:gd name="connsiteX31" fmla="*/ 211244 w 306457"/>
                <a:gd name="connsiteY31" fmla="*/ 317966 h 328766"/>
                <a:gd name="connsiteX32" fmla="*/ 154001 w 306457"/>
                <a:gd name="connsiteY32" fmla="*/ 275220 h 328766"/>
                <a:gd name="connsiteX33" fmla="*/ 35658 w 306457"/>
                <a:gd name="connsiteY33" fmla="*/ 199350 h 328766"/>
                <a:gd name="connsiteX34" fmla="*/ 35658 w 306457"/>
                <a:gd name="connsiteY34" fmla="*/ 130615 h 328766"/>
                <a:gd name="connsiteX35" fmla="*/ 150235 w 306457"/>
                <a:gd name="connsiteY35" fmla="*/ 207004 h 328766"/>
                <a:gd name="connsiteX36" fmla="*/ 153230 w 306457"/>
                <a:gd name="connsiteY36" fmla="*/ 207911 h 328766"/>
                <a:gd name="connsiteX37" fmla="*/ 156226 w 306457"/>
                <a:gd name="connsiteY37" fmla="*/ 207004 h 328766"/>
                <a:gd name="connsiteX38" fmla="*/ 221746 w 306457"/>
                <a:gd name="connsiteY38" fmla="*/ 163321 h 328766"/>
                <a:gd name="connsiteX39" fmla="*/ 221746 w 306457"/>
                <a:gd name="connsiteY39" fmla="*/ 229000 h 328766"/>
                <a:gd name="connsiteX40" fmla="*/ 154001 w 306457"/>
                <a:gd name="connsiteY40" fmla="*/ 275220 h 328766"/>
                <a:gd name="connsiteX41" fmla="*/ 265057 w 306457"/>
                <a:gd name="connsiteY41" fmla="*/ 199451 h 328766"/>
                <a:gd name="connsiteX42" fmla="*/ 232546 w 306457"/>
                <a:gd name="connsiteY42" fmla="*/ 221634 h 328766"/>
                <a:gd name="connsiteX43" fmla="*/ 232546 w 306457"/>
                <a:gd name="connsiteY43" fmla="*/ 156121 h 328766"/>
                <a:gd name="connsiteX44" fmla="*/ 265057 w 306457"/>
                <a:gd name="connsiteY44" fmla="*/ 134446 h 328766"/>
                <a:gd name="connsiteX45" fmla="*/ 265057 w 306457"/>
                <a:gd name="connsiteY45" fmla="*/ 199451 h 328766"/>
                <a:gd name="connsiteX46" fmla="*/ 268582 w 306457"/>
                <a:gd name="connsiteY46" fmla="*/ 119117 h 328766"/>
                <a:gd name="connsiteX47" fmla="*/ 266515 w 306457"/>
                <a:gd name="connsiteY47" fmla="*/ 120496 h 328766"/>
                <a:gd name="connsiteX48" fmla="*/ 227146 w 306457"/>
                <a:gd name="connsiteY48" fmla="*/ 146743 h 328766"/>
                <a:gd name="connsiteX49" fmla="*/ 156226 w 306457"/>
                <a:gd name="connsiteY49" fmla="*/ 99461 h 328766"/>
                <a:gd name="connsiteX50" fmla="*/ 148738 w 306457"/>
                <a:gd name="connsiteY50" fmla="*/ 100958 h 328766"/>
                <a:gd name="connsiteX51" fmla="*/ 150235 w 306457"/>
                <a:gd name="connsiteY51" fmla="*/ 108446 h 328766"/>
                <a:gd name="connsiteX52" fmla="*/ 217411 w 306457"/>
                <a:gd name="connsiteY52" fmla="*/ 153230 h 328766"/>
                <a:gd name="connsiteX53" fmla="*/ 153230 w 306457"/>
                <a:gd name="connsiteY53" fmla="*/ 196020 h 328766"/>
                <a:gd name="connsiteX54" fmla="*/ 15134 w 306457"/>
                <a:gd name="connsiteY54" fmla="*/ 103954 h 328766"/>
                <a:gd name="connsiteX55" fmla="*/ 153230 w 306457"/>
                <a:gd name="connsiteY55" fmla="*/ 11891 h 328766"/>
                <a:gd name="connsiteX56" fmla="*/ 291326 w 306457"/>
                <a:gd name="connsiteY56" fmla="*/ 103954 h 328766"/>
                <a:gd name="connsiteX57" fmla="*/ 268582 w 306457"/>
                <a:gd name="connsiteY57" fmla="*/ 119117 h 328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306457" h="328766">
                  <a:moveTo>
                    <a:pt x="304056" y="99461"/>
                  </a:moveTo>
                  <a:lnTo>
                    <a:pt x="156226" y="907"/>
                  </a:lnTo>
                  <a:cubicBezTo>
                    <a:pt x="154411" y="-302"/>
                    <a:pt x="152050" y="-302"/>
                    <a:pt x="150235" y="907"/>
                  </a:cubicBezTo>
                  <a:lnTo>
                    <a:pt x="2405" y="99461"/>
                  </a:lnTo>
                  <a:cubicBezTo>
                    <a:pt x="904" y="100462"/>
                    <a:pt x="0" y="102150"/>
                    <a:pt x="0" y="103954"/>
                  </a:cubicBezTo>
                  <a:cubicBezTo>
                    <a:pt x="0" y="105757"/>
                    <a:pt x="900" y="107446"/>
                    <a:pt x="2405" y="108446"/>
                  </a:cubicBezTo>
                  <a:lnTo>
                    <a:pt x="24858" y="123415"/>
                  </a:lnTo>
                  <a:lnTo>
                    <a:pt x="24858" y="202302"/>
                  </a:lnTo>
                  <a:cubicBezTo>
                    <a:pt x="24858" y="204142"/>
                    <a:pt x="25794" y="205855"/>
                    <a:pt x="27342" y="206849"/>
                  </a:cubicBezTo>
                  <a:lnTo>
                    <a:pt x="151178" y="286240"/>
                  </a:lnTo>
                  <a:cubicBezTo>
                    <a:pt x="152068" y="286808"/>
                    <a:pt x="153079" y="287093"/>
                    <a:pt x="154094" y="287093"/>
                  </a:cubicBezTo>
                  <a:cubicBezTo>
                    <a:pt x="155156" y="287093"/>
                    <a:pt x="156222" y="286780"/>
                    <a:pt x="157136" y="286153"/>
                  </a:cubicBezTo>
                  <a:lnTo>
                    <a:pt x="221746" y="242075"/>
                  </a:lnTo>
                  <a:lnTo>
                    <a:pt x="221746" y="272812"/>
                  </a:lnTo>
                  <a:lnTo>
                    <a:pt x="197676" y="320951"/>
                  </a:lnTo>
                  <a:cubicBezTo>
                    <a:pt x="196841" y="322625"/>
                    <a:pt x="196931" y="324616"/>
                    <a:pt x="197910" y="326207"/>
                  </a:cubicBezTo>
                  <a:cubicBezTo>
                    <a:pt x="198893" y="327794"/>
                    <a:pt x="200635" y="328766"/>
                    <a:pt x="202504" y="328766"/>
                  </a:cubicBezTo>
                  <a:lnTo>
                    <a:pt x="251784" y="328766"/>
                  </a:lnTo>
                  <a:cubicBezTo>
                    <a:pt x="253656" y="328766"/>
                    <a:pt x="255395" y="327794"/>
                    <a:pt x="256378" y="326207"/>
                  </a:cubicBezTo>
                  <a:cubicBezTo>
                    <a:pt x="257357" y="324616"/>
                    <a:pt x="257450" y="322625"/>
                    <a:pt x="256612" y="320951"/>
                  </a:cubicBezTo>
                  <a:lnTo>
                    <a:pt x="232542" y="272812"/>
                  </a:lnTo>
                  <a:lnTo>
                    <a:pt x="232542" y="234706"/>
                  </a:lnTo>
                  <a:lnTo>
                    <a:pt x="273499" y="206762"/>
                  </a:lnTo>
                  <a:cubicBezTo>
                    <a:pt x="274972" y="205758"/>
                    <a:pt x="275854" y="204088"/>
                    <a:pt x="275854" y="202302"/>
                  </a:cubicBezTo>
                  <a:lnTo>
                    <a:pt x="275854" y="127246"/>
                  </a:lnTo>
                  <a:lnTo>
                    <a:pt x="304052" y="108446"/>
                  </a:lnTo>
                  <a:cubicBezTo>
                    <a:pt x="305554" y="107446"/>
                    <a:pt x="306457" y="105757"/>
                    <a:pt x="306457" y="103954"/>
                  </a:cubicBezTo>
                  <a:cubicBezTo>
                    <a:pt x="306457" y="102150"/>
                    <a:pt x="305557" y="100462"/>
                    <a:pt x="304056" y="99461"/>
                  </a:cubicBezTo>
                  <a:close/>
                  <a:moveTo>
                    <a:pt x="211244" y="317966"/>
                  </a:moveTo>
                  <a:lnTo>
                    <a:pt x="227146" y="286164"/>
                  </a:lnTo>
                  <a:lnTo>
                    <a:pt x="243047" y="317966"/>
                  </a:lnTo>
                  <a:lnTo>
                    <a:pt x="211244" y="317966"/>
                  </a:lnTo>
                  <a:close/>
                  <a:moveTo>
                    <a:pt x="154001" y="275220"/>
                  </a:moveTo>
                  <a:lnTo>
                    <a:pt x="35658" y="199350"/>
                  </a:lnTo>
                  <a:lnTo>
                    <a:pt x="35658" y="130615"/>
                  </a:lnTo>
                  <a:lnTo>
                    <a:pt x="150235" y="207004"/>
                  </a:lnTo>
                  <a:cubicBezTo>
                    <a:pt x="151142" y="207608"/>
                    <a:pt x="152186" y="207911"/>
                    <a:pt x="153230" y="207911"/>
                  </a:cubicBezTo>
                  <a:cubicBezTo>
                    <a:pt x="154274" y="207911"/>
                    <a:pt x="155318" y="207608"/>
                    <a:pt x="156226" y="207004"/>
                  </a:cubicBezTo>
                  <a:lnTo>
                    <a:pt x="221746" y="163321"/>
                  </a:lnTo>
                  <a:lnTo>
                    <a:pt x="221746" y="229000"/>
                  </a:lnTo>
                  <a:lnTo>
                    <a:pt x="154001" y="275220"/>
                  </a:lnTo>
                  <a:close/>
                  <a:moveTo>
                    <a:pt x="265057" y="199451"/>
                  </a:moveTo>
                  <a:lnTo>
                    <a:pt x="232546" y="221634"/>
                  </a:lnTo>
                  <a:lnTo>
                    <a:pt x="232546" y="156121"/>
                  </a:lnTo>
                  <a:lnTo>
                    <a:pt x="265057" y="134446"/>
                  </a:lnTo>
                  <a:lnTo>
                    <a:pt x="265057" y="199451"/>
                  </a:lnTo>
                  <a:close/>
                  <a:moveTo>
                    <a:pt x="268582" y="119117"/>
                  </a:moveTo>
                  <a:cubicBezTo>
                    <a:pt x="267786" y="119412"/>
                    <a:pt x="267084" y="119884"/>
                    <a:pt x="266515" y="120496"/>
                  </a:cubicBezTo>
                  <a:lnTo>
                    <a:pt x="227146" y="146743"/>
                  </a:lnTo>
                  <a:lnTo>
                    <a:pt x="156226" y="99461"/>
                  </a:lnTo>
                  <a:cubicBezTo>
                    <a:pt x="153738" y="97805"/>
                    <a:pt x="150390" y="98478"/>
                    <a:pt x="148738" y="100958"/>
                  </a:cubicBezTo>
                  <a:cubicBezTo>
                    <a:pt x="147085" y="103439"/>
                    <a:pt x="147755" y="106794"/>
                    <a:pt x="150235" y="108446"/>
                  </a:cubicBezTo>
                  <a:lnTo>
                    <a:pt x="217411" y="153230"/>
                  </a:lnTo>
                  <a:lnTo>
                    <a:pt x="153230" y="196020"/>
                  </a:lnTo>
                  <a:lnTo>
                    <a:pt x="15134" y="103954"/>
                  </a:lnTo>
                  <a:lnTo>
                    <a:pt x="153230" y="11891"/>
                  </a:lnTo>
                  <a:lnTo>
                    <a:pt x="291326" y="103954"/>
                  </a:lnTo>
                  <a:lnTo>
                    <a:pt x="268582" y="119117"/>
                  </a:lnTo>
                  <a:close/>
                </a:path>
              </a:pathLst>
            </a:custGeom>
            <a:solidFill>
              <a:srgbClr val="00000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A75119B7-BB6D-4915-BD6C-E2D421CFD517}"/>
              </a:ext>
            </a:extLst>
          </p:cNvPr>
          <p:cNvGrpSpPr/>
          <p:nvPr/>
        </p:nvGrpSpPr>
        <p:grpSpPr>
          <a:xfrm>
            <a:off x="853255" y="3482009"/>
            <a:ext cx="702250" cy="791319"/>
            <a:chOff x="1729142" y="2873137"/>
            <a:chExt cx="550305" cy="55030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96CBA8E2-A1FA-4E44-80A2-748A2AADF70E}"/>
                </a:ext>
              </a:extLst>
            </p:cNvPr>
            <p:cNvSpPr/>
            <p:nvPr/>
          </p:nvSpPr>
          <p:spPr>
            <a:xfrm>
              <a:off x="1729142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0" name="Рисунок 55">
              <a:extLst>
                <a:ext uri="{FF2B5EF4-FFF2-40B4-BE49-F238E27FC236}">
                  <a16:creationId xmlns:a16="http://schemas.microsoft.com/office/drawing/2014/main" id="{31348D01-A8F8-4963-A9D1-89C30BDE1649}"/>
                </a:ext>
              </a:extLst>
            </p:cNvPr>
            <p:cNvSpPr/>
            <p:nvPr/>
          </p:nvSpPr>
          <p:spPr>
            <a:xfrm>
              <a:off x="1831151" y="3028387"/>
              <a:ext cx="346288" cy="239788"/>
            </a:xfrm>
            <a:custGeom>
              <a:avLst/>
              <a:gdLst>
                <a:gd name="connsiteX0" fmla="*/ 345744 w 346288"/>
                <a:gd name="connsiteY0" fmla="*/ 122828 h 239788"/>
                <a:gd name="connsiteX1" fmla="*/ 338530 w 346288"/>
                <a:gd name="connsiteY1" fmla="*/ 120329 h 239788"/>
                <a:gd name="connsiteX2" fmla="*/ 300330 w 346288"/>
                <a:gd name="connsiteY2" fmla="*/ 138887 h 239788"/>
                <a:gd name="connsiteX3" fmla="*/ 274299 w 346288"/>
                <a:gd name="connsiteY3" fmla="*/ 150163 h 239788"/>
                <a:gd name="connsiteX4" fmla="*/ 250798 w 346288"/>
                <a:gd name="connsiteY4" fmla="*/ 143704 h 239788"/>
                <a:gd name="connsiteX5" fmla="*/ 246276 w 346288"/>
                <a:gd name="connsiteY5" fmla="*/ 142020 h 239788"/>
                <a:gd name="connsiteX6" fmla="*/ 244267 w 346288"/>
                <a:gd name="connsiteY6" fmla="*/ 141692 h 239788"/>
                <a:gd name="connsiteX7" fmla="*/ 236419 w 346288"/>
                <a:gd name="connsiteY7" fmla="*/ 138855 h 239788"/>
                <a:gd name="connsiteX8" fmla="*/ 204934 w 346288"/>
                <a:gd name="connsiteY8" fmla="*/ 120002 h 239788"/>
                <a:gd name="connsiteX9" fmla="*/ 178409 w 346288"/>
                <a:gd name="connsiteY9" fmla="*/ 90014 h 239788"/>
                <a:gd name="connsiteX10" fmla="*/ 171720 w 346288"/>
                <a:gd name="connsiteY10" fmla="*/ 88624 h 239788"/>
                <a:gd name="connsiteX11" fmla="*/ 140519 w 346288"/>
                <a:gd name="connsiteY11" fmla="*/ 95925 h 239788"/>
                <a:gd name="connsiteX12" fmla="*/ 124510 w 346288"/>
                <a:gd name="connsiteY12" fmla="*/ 86698 h 239788"/>
                <a:gd name="connsiteX13" fmla="*/ 122188 w 346288"/>
                <a:gd name="connsiteY13" fmla="*/ 75218 h 239788"/>
                <a:gd name="connsiteX14" fmla="*/ 135090 w 346288"/>
                <a:gd name="connsiteY14" fmla="*/ 76089 h 239788"/>
                <a:gd name="connsiteX15" fmla="*/ 151593 w 346288"/>
                <a:gd name="connsiteY15" fmla="*/ 76661 h 239788"/>
                <a:gd name="connsiteX16" fmla="*/ 182308 w 346288"/>
                <a:gd name="connsiteY16" fmla="*/ 55004 h 239788"/>
                <a:gd name="connsiteX17" fmla="*/ 221962 w 346288"/>
                <a:gd name="connsiteY17" fmla="*/ 52214 h 239788"/>
                <a:gd name="connsiteX18" fmla="*/ 243767 w 346288"/>
                <a:gd name="connsiteY18" fmla="*/ 56325 h 239788"/>
                <a:gd name="connsiteX19" fmla="*/ 269583 w 346288"/>
                <a:gd name="connsiteY19" fmla="*/ 50997 h 239788"/>
                <a:gd name="connsiteX20" fmla="*/ 322632 w 346288"/>
                <a:gd name="connsiteY20" fmla="*/ 22647 h 239788"/>
                <a:gd name="connsiteX21" fmla="*/ 324850 w 346288"/>
                <a:gd name="connsiteY21" fmla="*/ 15339 h 239788"/>
                <a:gd name="connsiteX22" fmla="*/ 317542 w 346288"/>
                <a:gd name="connsiteY22" fmla="*/ 13121 h 239788"/>
                <a:gd name="connsiteX23" fmla="*/ 264730 w 346288"/>
                <a:gd name="connsiteY23" fmla="*/ 41349 h 239788"/>
                <a:gd name="connsiteX24" fmla="*/ 225954 w 346288"/>
                <a:gd name="connsiteY24" fmla="*/ 42177 h 239788"/>
                <a:gd name="connsiteX25" fmla="*/ 179536 w 346288"/>
                <a:gd name="connsiteY25" fmla="*/ 44521 h 239788"/>
                <a:gd name="connsiteX26" fmla="*/ 141444 w 346288"/>
                <a:gd name="connsiteY26" fmla="*/ 35521 h 239788"/>
                <a:gd name="connsiteX27" fmla="*/ 96754 w 346288"/>
                <a:gd name="connsiteY27" fmla="*/ 36161 h 239788"/>
                <a:gd name="connsiteX28" fmla="*/ 30172 w 346288"/>
                <a:gd name="connsiteY28" fmla="*/ 691 h 239788"/>
                <a:gd name="connsiteX29" fmla="*/ 22821 w 346288"/>
                <a:gd name="connsiteY29" fmla="*/ 2761 h 239788"/>
                <a:gd name="connsiteX30" fmla="*/ 24887 w 346288"/>
                <a:gd name="connsiteY30" fmla="*/ 10112 h 239788"/>
                <a:gd name="connsiteX31" fmla="*/ 94608 w 346288"/>
                <a:gd name="connsiteY31" fmla="*/ 46742 h 239788"/>
                <a:gd name="connsiteX32" fmla="*/ 143068 w 346288"/>
                <a:gd name="connsiteY32" fmla="*/ 46198 h 239788"/>
                <a:gd name="connsiteX33" fmla="*/ 168912 w 346288"/>
                <a:gd name="connsiteY33" fmla="*/ 52174 h 239788"/>
                <a:gd name="connsiteX34" fmla="*/ 148270 w 346288"/>
                <a:gd name="connsiteY34" fmla="*/ 66380 h 239788"/>
                <a:gd name="connsiteX35" fmla="*/ 136890 w 346288"/>
                <a:gd name="connsiteY35" fmla="*/ 65433 h 239788"/>
                <a:gd name="connsiteX36" fmla="*/ 114304 w 346288"/>
                <a:gd name="connsiteY36" fmla="*/ 67748 h 239788"/>
                <a:gd name="connsiteX37" fmla="*/ 116190 w 346288"/>
                <a:gd name="connsiteY37" fmla="*/ 93585 h 239788"/>
                <a:gd name="connsiteX38" fmla="*/ 137470 w 346288"/>
                <a:gd name="connsiteY38" fmla="*/ 106282 h 239788"/>
                <a:gd name="connsiteX39" fmla="*/ 172721 w 346288"/>
                <a:gd name="connsiteY39" fmla="*/ 100112 h 239788"/>
                <a:gd name="connsiteX40" fmla="*/ 197856 w 346288"/>
                <a:gd name="connsiteY40" fmla="*/ 128156 h 239788"/>
                <a:gd name="connsiteX41" fmla="*/ 232060 w 346288"/>
                <a:gd name="connsiteY41" fmla="*/ 148730 h 239788"/>
                <a:gd name="connsiteX42" fmla="*/ 247277 w 346288"/>
                <a:gd name="connsiteY42" fmla="*/ 153910 h 239788"/>
                <a:gd name="connsiteX43" fmla="*/ 272603 w 346288"/>
                <a:gd name="connsiteY43" fmla="*/ 163346 h 239788"/>
                <a:gd name="connsiteX44" fmla="*/ 275591 w 346288"/>
                <a:gd name="connsiteY44" fmla="*/ 167140 h 239788"/>
                <a:gd name="connsiteX45" fmla="*/ 275026 w 346288"/>
                <a:gd name="connsiteY45" fmla="*/ 177735 h 239788"/>
                <a:gd name="connsiteX46" fmla="*/ 265324 w 346288"/>
                <a:gd name="connsiteY46" fmla="*/ 182962 h 239788"/>
                <a:gd name="connsiteX47" fmla="*/ 262829 w 346288"/>
                <a:gd name="connsiteY47" fmla="*/ 182242 h 239788"/>
                <a:gd name="connsiteX48" fmla="*/ 228492 w 346288"/>
                <a:gd name="connsiteY48" fmla="*/ 164429 h 239788"/>
                <a:gd name="connsiteX49" fmla="*/ 221213 w 346288"/>
                <a:gd name="connsiteY49" fmla="*/ 166737 h 239788"/>
                <a:gd name="connsiteX50" fmla="*/ 223521 w 346288"/>
                <a:gd name="connsiteY50" fmla="*/ 174016 h 239788"/>
                <a:gd name="connsiteX51" fmla="*/ 258102 w 346288"/>
                <a:gd name="connsiteY51" fmla="*/ 191951 h 239788"/>
                <a:gd name="connsiteX52" fmla="*/ 258419 w 346288"/>
                <a:gd name="connsiteY52" fmla="*/ 192081 h 239788"/>
                <a:gd name="connsiteX53" fmla="*/ 258048 w 346288"/>
                <a:gd name="connsiteY53" fmla="*/ 195652 h 239788"/>
                <a:gd name="connsiteX54" fmla="*/ 257325 w 346288"/>
                <a:gd name="connsiteY54" fmla="*/ 198622 h 239788"/>
                <a:gd name="connsiteX55" fmla="*/ 245520 w 346288"/>
                <a:gd name="connsiteY55" fmla="*/ 202773 h 239788"/>
                <a:gd name="connsiteX56" fmla="*/ 216537 w 346288"/>
                <a:gd name="connsiteY56" fmla="*/ 190177 h 239788"/>
                <a:gd name="connsiteX57" fmla="*/ 216141 w 346288"/>
                <a:gd name="connsiteY57" fmla="*/ 190051 h 239788"/>
                <a:gd name="connsiteX58" fmla="*/ 215622 w 346288"/>
                <a:gd name="connsiteY58" fmla="*/ 189885 h 239788"/>
                <a:gd name="connsiteX59" fmla="*/ 215089 w 346288"/>
                <a:gd name="connsiteY59" fmla="*/ 189799 h 239788"/>
                <a:gd name="connsiteX60" fmla="*/ 214578 w 346288"/>
                <a:gd name="connsiteY60" fmla="*/ 189741 h 239788"/>
                <a:gd name="connsiteX61" fmla="*/ 214035 w 346288"/>
                <a:gd name="connsiteY61" fmla="*/ 189763 h 239788"/>
                <a:gd name="connsiteX62" fmla="*/ 213541 w 346288"/>
                <a:gd name="connsiteY62" fmla="*/ 189806 h 239788"/>
                <a:gd name="connsiteX63" fmla="*/ 213016 w 346288"/>
                <a:gd name="connsiteY63" fmla="*/ 189928 h 239788"/>
                <a:gd name="connsiteX64" fmla="*/ 212541 w 346288"/>
                <a:gd name="connsiteY64" fmla="*/ 190065 h 239788"/>
                <a:gd name="connsiteX65" fmla="*/ 212062 w 346288"/>
                <a:gd name="connsiteY65" fmla="*/ 190281 h 239788"/>
                <a:gd name="connsiteX66" fmla="*/ 211605 w 346288"/>
                <a:gd name="connsiteY66" fmla="*/ 190515 h 239788"/>
                <a:gd name="connsiteX67" fmla="*/ 211187 w 346288"/>
                <a:gd name="connsiteY67" fmla="*/ 190810 h 239788"/>
                <a:gd name="connsiteX68" fmla="*/ 210769 w 346288"/>
                <a:gd name="connsiteY68" fmla="*/ 191138 h 239788"/>
                <a:gd name="connsiteX69" fmla="*/ 210417 w 346288"/>
                <a:gd name="connsiteY69" fmla="*/ 191509 h 239788"/>
                <a:gd name="connsiteX70" fmla="*/ 210060 w 346288"/>
                <a:gd name="connsiteY70" fmla="*/ 191923 h 239788"/>
                <a:gd name="connsiteX71" fmla="*/ 209779 w 346288"/>
                <a:gd name="connsiteY71" fmla="*/ 192369 h 239788"/>
                <a:gd name="connsiteX72" fmla="*/ 209553 w 346288"/>
                <a:gd name="connsiteY72" fmla="*/ 192736 h 239788"/>
                <a:gd name="connsiteX73" fmla="*/ 209502 w 346288"/>
                <a:gd name="connsiteY73" fmla="*/ 192869 h 239788"/>
                <a:gd name="connsiteX74" fmla="*/ 209441 w 346288"/>
                <a:gd name="connsiteY74" fmla="*/ 192981 h 239788"/>
                <a:gd name="connsiteX75" fmla="*/ 209322 w 346288"/>
                <a:gd name="connsiteY75" fmla="*/ 193352 h 239788"/>
                <a:gd name="connsiteX76" fmla="*/ 209146 w 346288"/>
                <a:gd name="connsiteY76" fmla="*/ 193903 h 239788"/>
                <a:gd name="connsiteX77" fmla="*/ 209067 w 346288"/>
                <a:gd name="connsiteY77" fmla="*/ 194407 h 239788"/>
                <a:gd name="connsiteX78" fmla="*/ 209009 w 346288"/>
                <a:gd name="connsiteY78" fmla="*/ 194947 h 239788"/>
                <a:gd name="connsiteX79" fmla="*/ 209027 w 346288"/>
                <a:gd name="connsiteY79" fmla="*/ 195465 h 239788"/>
                <a:gd name="connsiteX80" fmla="*/ 209070 w 346288"/>
                <a:gd name="connsiteY80" fmla="*/ 195984 h 239788"/>
                <a:gd name="connsiteX81" fmla="*/ 209189 w 346288"/>
                <a:gd name="connsiteY81" fmla="*/ 196495 h 239788"/>
                <a:gd name="connsiteX82" fmla="*/ 209329 w 346288"/>
                <a:gd name="connsiteY82" fmla="*/ 196984 h 239788"/>
                <a:gd name="connsiteX83" fmla="*/ 209542 w 346288"/>
                <a:gd name="connsiteY83" fmla="*/ 197459 h 239788"/>
                <a:gd name="connsiteX84" fmla="*/ 209772 w 346288"/>
                <a:gd name="connsiteY84" fmla="*/ 197913 h 239788"/>
                <a:gd name="connsiteX85" fmla="*/ 210075 w 346288"/>
                <a:gd name="connsiteY85" fmla="*/ 198345 h 239788"/>
                <a:gd name="connsiteX86" fmla="*/ 210391 w 346288"/>
                <a:gd name="connsiteY86" fmla="*/ 198752 h 239788"/>
                <a:gd name="connsiteX87" fmla="*/ 210784 w 346288"/>
                <a:gd name="connsiteY87" fmla="*/ 199123 h 239788"/>
                <a:gd name="connsiteX88" fmla="*/ 211176 w 346288"/>
                <a:gd name="connsiteY88" fmla="*/ 199461 h 239788"/>
                <a:gd name="connsiteX89" fmla="*/ 211648 w 346288"/>
                <a:gd name="connsiteY89" fmla="*/ 199756 h 239788"/>
                <a:gd name="connsiteX90" fmla="*/ 211990 w 346288"/>
                <a:gd name="connsiteY90" fmla="*/ 199972 h 239788"/>
                <a:gd name="connsiteX91" fmla="*/ 219715 w 346288"/>
                <a:gd name="connsiteY91" fmla="*/ 203799 h 239788"/>
                <a:gd name="connsiteX92" fmla="*/ 224093 w 346288"/>
                <a:gd name="connsiteY92" fmla="*/ 216068 h 239788"/>
                <a:gd name="connsiteX93" fmla="*/ 218812 w 346288"/>
                <a:gd name="connsiteY93" fmla="*/ 220859 h 239788"/>
                <a:gd name="connsiteX94" fmla="*/ 211813 w 346288"/>
                <a:gd name="connsiteY94" fmla="*/ 220507 h 239788"/>
                <a:gd name="connsiteX95" fmla="*/ 190087 w 346288"/>
                <a:gd name="connsiteY95" fmla="*/ 210243 h 239788"/>
                <a:gd name="connsiteX96" fmla="*/ 196279 w 346288"/>
                <a:gd name="connsiteY96" fmla="*/ 199738 h 239788"/>
                <a:gd name="connsiteX97" fmla="*/ 188806 w 346288"/>
                <a:gd name="connsiteY97" fmla="*/ 170611 h 239788"/>
                <a:gd name="connsiteX98" fmla="*/ 188799 w 346288"/>
                <a:gd name="connsiteY98" fmla="*/ 170607 h 239788"/>
                <a:gd name="connsiteX99" fmla="*/ 174424 w 346288"/>
                <a:gd name="connsiteY99" fmla="*/ 167936 h 239788"/>
                <a:gd name="connsiteX100" fmla="*/ 162331 w 346288"/>
                <a:gd name="connsiteY100" fmla="*/ 143434 h 239788"/>
                <a:gd name="connsiteX101" fmla="*/ 162303 w 346288"/>
                <a:gd name="connsiteY101" fmla="*/ 143416 h 239788"/>
                <a:gd name="connsiteX102" fmla="*/ 135295 w 346288"/>
                <a:gd name="connsiteY102" fmla="*/ 144338 h 239788"/>
                <a:gd name="connsiteX103" fmla="*/ 125975 w 346288"/>
                <a:gd name="connsiteY103" fmla="*/ 132771 h 239788"/>
                <a:gd name="connsiteX104" fmla="*/ 96765 w 346288"/>
                <a:gd name="connsiteY104" fmla="*/ 140252 h 239788"/>
                <a:gd name="connsiteX105" fmla="*/ 82285 w 346288"/>
                <a:gd name="connsiteY105" fmla="*/ 164757 h 239788"/>
                <a:gd name="connsiteX106" fmla="*/ 46847 w 346288"/>
                <a:gd name="connsiteY106" fmla="*/ 139406 h 239788"/>
                <a:gd name="connsiteX107" fmla="*/ 46447 w 346288"/>
                <a:gd name="connsiteY107" fmla="*/ 139179 h 239788"/>
                <a:gd name="connsiteX108" fmla="*/ 46066 w 346288"/>
                <a:gd name="connsiteY108" fmla="*/ 138945 h 239788"/>
                <a:gd name="connsiteX109" fmla="*/ 7758 w 346288"/>
                <a:gd name="connsiteY109" fmla="*/ 120340 h 239788"/>
                <a:gd name="connsiteX110" fmla="*/ 544 w 346288"/>
                <a:gd name="connsiteY110" fmla="*/ 122839 h 239788"/>
                <a:gd name="connsiteX111" fmla="*/ 3042 w 346288"/>
                <a:gd name="connsiteY111" fmla="*/ 130057 h 239788"/>
                <a:gd name="connsiteX112" fmla="*/ 40939 w 346288"/>
                <a:gd name="connsiteY112" fmla="*/ 148467 h 239788"/>
                <a:gd name="connsiteX113" fmla="*/ 77285 w 346288"/>
                <a:gd name="connsiteY113" fmla="*/ 174470 h 239788"/>
                <a:gd name="connsiteX114" fmla="*/ 86865 w 346288"/>
                <a:gd name="connsiteY114" fmla="*/ 199018 h 239788"/>
                <a:gd name="connsiteX115" fmla="*/ 97665 w 346288"/>
                <a:gd name="connsiteY115" fmla="*/ 201967 h 239788"/>
                <a:gd name="connsiteX116" fmla="*/ 101185 w 346288"/>
                <a:gd name="connsiteY116" fmla="*/ 201639 h 239788"/>
                <a:gd name="connsiteX117" fmla="*/ 113364 w 346288"/>
                <a:gd name="connsiteY117" fmla="*/ 226335 h 239788"/>
                <a:gd name="connsiteX118" fmla="*/ 125971 w 346288"/>
                <a:gd name="connsiteY118" fmla="*/ 229784 h 239788"/>
                <a:gd name="connsiteX119" fmla="*/ 132714 w 346288"/>
                <a:gd name="connsiteY119" fmla="*/ 228869 h 239788"/>
                <a:gd name="connsiteX120" fmla="*/ 140339 w 346288"/>
                <a:gd name="connsiteY120" fmla="*/ 225352 h 239788"/>
                <a:gd name="connsiteX121" fmla="*/ 149674 w 346288"/>
                <a:gd name="connsiteY121" fmla="*/ 236844 h 239788"/>
                <a:gd name="connsiteX122" fmla="*/ 160459 w 346288"/>
                <a:gd name="connsiteY122" fmla="*/ 239788 h 239788"/>
                <a:gd name="connsiteX123" fmla="*/ 178837 w 346288"/>
                <a:gd name="connsiteY123" fmla="*/ 229355 h 239788"/>
                <a:gd name="connsiteX124" fmla="*/ 184587 w 346288"/>
                <a:gd name="connsiteY124" fmla="*/ 219596 h 239788"/>
                <a:gd name="connsiteX125" fmla="*/ 207191 w 346288"/>
                <a:gd name="connsiteY125" fmla="*/ 230277 h 239788"/>
                <a:gd name="connsiteX126" fmla="*/ 215723 w 346288"/>
                <a:gd name="connsiteY126" fmla="*/ 232217 h 239788"/>
                <a:gd name="connsiteX127" fmla="*/ 222448 w 346288"/>
                <a:gd name="connsiteY127" fmla="*/ 231044 h 239788"/>
                <a:gd name="connsiteX128" fmla="*/ 233863 w 346288"/>
                <a:gd name="connsiteY128" fmla="*/ 220694 h 239788"/>
                <a:gd name="connsiteX129" fmla="*/ 235674 w 346288"/>
                <a:gd name="connsiteY129" fmla="*/ 210283 h 239788"/>
                <a:gd name="connsiteX130" fmla="*/ 241240 w 346288"/>
                <a:gd name="connsiteY130" fmla="*/ 212702 h 239788"/>
                <a:gd name="connsiteX131" fmla="*/ 249106 w 346288"/>
                <a:gd name="connsiteY131" fmla="*/ 214325 h 239788"/>
                <a:gd name="connsiteX132" fmla="*/ 267581 w 346288"/>
                <a:gd name="connsiteY132" fmla="*/ 202233 h 239788"/>
                <a:gd name="connsiteX133" fmla="*/ 268031 w 346288"/>
                <a:gd name="connsiteY133" fmla="*/ 200102 h 239788"/>
                <a:gd name="connsiteX134" fmla="*/ 268366 w 346288"/>
                <a:gd name="connsiteY134" fmla="*/ 198882 h 239788"/>
                <a:gd name="connsiteX135" fmla="*/ 269363 w 346288"/>
                <a:gd name="connsiteY135" fmla="*/ 193680 h 239788"/>
                <a:gd name="connsiteX136" fmla="*/ 284793 w 346288"/>
                <a:gd name="connsiteY136" fmla="*/ 182375 h 239788"/>
                <a:gd name="connsiteX137" fmla="*/ 285765 w 346288"/>
                <a:gd name="connsiteY137" fmla="*/ 163508 h 239788"/>
                <a:gd name="connsiteX138" fmla="*/ 282838 w 346288"/>
                <a:gd name="connsiteY138" fmla="*/ 158245 h 239788"/>
                <a:gd name="connsiteX139" fmla="*/ 304729 w 346288"/>
                <a:gd name="connsiteY139" fmla="*/ 148762 h 239788"/>
                <a:gd name="connsiteX140" fmla="*/ 304841 w 346288"/>
                <a:gd name="connsiteY140" fmla="*/ 148697 h 239788"/>
                <a:gd name="connsiteX141" fmla="*/ 304942 w 346288"/>
                <a:gd name="connsiteY141" fmla="*/ 148661 h 239788"/>
                <a:gd name="connsiteX142" fmla="*/ 343249 w 346288"/>
                <a:gd name="connsiteY142" fmla="*/ 130053 h 239788"/>
                <a:gd name="connsiteX143" fmla="*/ 345744 w 346288"/>
                <a:gd name="connsiteY143" fmla="*/ 122828 h 239788"/>
                <a:gd name="connsiteX144" fmla="*/ 92347 w 346288"/>
                <a:gd name="connsiteY144" fmla="*/ 189701 h 239788"/>
                <a:gd name="connsiteX145" fmla="*/ 88589 w 346288"/>
                <a:gd name="connsiteY145" fmla="*/ 175323 h 239788"/>
                <a:gd name="connsiteX146" fmla="*/ 106063 w 346288"/>
                <a:gd name="connsiteY146" fmla="*/ 145742 h 239788"/>
                <a:gd name="connsiteX147" fmla="*/ 115128 w 346288"/>
                <a:gd name="connsiteY147" fmla="*/ 140608 h 239788"/>
                <a:gd name="connsiteX148" fmla="*/ 120485 w 346288"/>
                <a:gd name="connsiteY148" fmla="*/ 142066 h 239788"/>
                <a:gd name="connsiteX149" fmla="*/ 124189 w 346288"/>
                <a:gd name="connsiteY149" fmla="*/ 156430 h 239788"/>
                <a:gd name="connsiteX150" fmla="*/ 106722 w 346288"/>
                <a:gd name="connsiteY150" fmla="*/ 186015 h 239788"/>
                <a:gd name="connsiteX151" fmla="*/ 92347 w 346288"/>
                <a:gd name="connsiteY151" fmla="*/ 189701 h 239788"/>
                <a:gd name="connsiteX152" fmla="*/ 129863 w 346288"/>
                <a:gd name="connsiteY152" fmla="*/ 218440 h 239788"/>
                <a:gd name="connsiteX153" fmla="*/ 118847 w 346288"/>
                <a:gd name="connsiteY153" fmla="*/ 217022 h 239788"/>
                <a:gd name="connsiteX154" fmla="*/ 113944 w 346288"/>
                <a:gd name="connsiteY154" fmla="*/ 196549 h 239788"/>
                <a:gd name="connsiteX155" fmla="*/ 136566 w 346288"/>
                <a:gd name="connsiteY155" fmla="*/ 158295 h 239788"/>
                <a:gd name="connsiteX156" fmla="*/ 149584 w 346288"/>
                <a:gd name="connsiteY156" fmla="*/ 150760 h 239788"/>
                <a:gd name="connsiteX157" fmla="*/ 156820 w 346288"/>
                <a:gd name="connsiteY157" fmla="*/ 152719 h 239788"/>
                <a:gd name="connsiteX158" fmla="*/ 161626 w 346288"/>
                <a:gd name="connsiteY158" fmla="*/ 173127 h 239788"/>
                <a:gd name="connsiteX159" fmla="*/ 139018 w 346288"/>
                <a:gd name="connsiteY159" fmla="*/ 211377 h 239788"/>
                <a:gd name="connsiteX160" fmla="*/ 129863 w 346288"/>
                <a:gd name="connsiteY160" fmla="*/ 218440 h 239788"/>
                <a:gd name="connsiteX161" fmla="*/ 169539 w 346288"/>
                <a:gd name="connsiteY161" fmla="*/ 223847 h 239788"/>
                <a:gd name="connsiteX162" fmla="*/ 155164 w 346288"/>
                <a:gd name="connsiteY162" fmla="*/ 227530 h 239788"/>
                <a:gd name="connsiteX163" fmla="*/ 151413 w 346288"/>
                <a:gd name="connsiteY163" fmla="*/ 213138 h 239788"/>
                <a:gd name="connsiteX164" fmla="*/ 168873 w 346288"/>
                <a:gd name="connsiteY164" fmla="*/ 183556 h 239788"/>
                <a:gd name="connsiteX165" fmla="*/ 177930 w 346288"/>
                <a:gd name="connsiteY165" fmla="*/ 178430 h 239788"/>
                <a:gd name="connsiteX166" fmla="*/ 183309 w 346288"/>
                <a:gd name="connsiteY166" fmla="*/ 179902 h 239788"/>
                <a:gd name="connsiteX167" fmla="*/ 186988 w 346288"/>
                <a:gd name="connsiteY167" fmla="*/ 194248 h 239788"/>
                <a:gd name="connsiteX168" fmla="*/ 179662 w 346288"/>
                <a:gd name="connsiteY168" fmla="*/ 206683 h 239788"/>
                <a:gd name="connsiteX169" fmla="*/ 176073 w 346288"/>
                <a:gd name="connsiteY169" fmla="*/ 209592 h 239788"/>
                <a:gd name="connsiteX170" fmla="*/ 175767 w 346288"/>
                <a:gd name="connsiteY170" fmla="*/ 213296 h 239788"/>
                <a:gd name="connsiteX171" fmla="*/ 169539 w 346288"/>
                <a:gd name="connsiteY171" fmla="*/ 223847 h 239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346288" h="239788">
                  <a:moveTo>
                    <a:pt x="345744" y="122828"/>
                  </a:moveTo>
                  <a:cubicBezTo>
                    <a:pt x="344437" y="120142"/>
                    <a:pt x="341205" y="119030"/>
                    <a:pt x="338530" y="120329"/>
                  </a:cubicBezTo>
                  <a:lnTo>
                    <a:pt x="300330" y="138887"/>
                  </a:lnTo>
                  <a:lnTo>
                    <a:pt x="274299" y="150163"/>
                  </a:lnTo>
                  <a:cubicBezTo>
                    <a:pt x="270281" y="149126"/>
                    <a:pt x="260017" y="146437"/>
                    <a:pt x="250798" y="143704"/>
                  </a:cubicBezTo>
                  <a:lnTo>
                    <a:pt x="246276" y="142020"/>
                  </a:lnTo>
                  <a:cubicBezTo>
                    <a:pt x="245614" y="141775"/>
                    <a:pt x="244933" y="141674"/>
                    <a:pt x="244267" y="141692"/>
                  </a:cubicBezTo>
                  <a:cubicBezTo>
                    <a:pt x="241071" y="140659"/>
                    <a:pt x="238291" y="139679"/>
                    <a:pt x="236419" y="138855"/>
                  </a:cubicBezTo>
                  <a:cubicBezTo>
                    <a:pt x="227441" y="134902"/>
                    <a:pt x="211399" y="125611"/>
                    <a:pt x="204934" y="120002"/>
                  </a:cubicBezTo>
                  <a:cubicBezTo>
                    <a:pt x="197629" y="113687"/>
                    <a:pt x="178600" y="90251"/>
                    <a:pt x="178409" y="90014"/>
                  </a:cubicBezTo>
                  <a:cubicBezTo>
                    <a:pt x="176793" y="88019"/>
                    <a:pt x="173995" y="87440"/>
                    <a:pt x="171720" y="88624"/>
                  </a:cubicBezTo>
                  <a:cubicBezTo>
                    <a:pt x="166486" y="91349"/>
                    <a:pt x="149508" y="98539"/>
                    <a:pt x="140519" y="95925"/>
                  </a:cubicBezTo>
                  <a:cubicBezTo>
                    <a:pt x="135774" y="94514"/>
                    <a:pt x="126994" y="89697"/>
                    <a:pt x="124510" y="86698"/>
                  </a:cubicBezTo>
                  <a:cubicBezTo>
                    <a:pt x="122854" y="84704"/>
                    <a:pt x="121443" y="77515"/>
                    <a:pt x="122188" y="75218"/>
                  </a:cubicBezTo>
                  <a:cubicBezTo>
                    <a:pt x="124128" y="74235"/>
                    <a:pt x="131487" y="75481"/>
                    <a:pt x="135090" y="76089"/>
                  </a:cubicBezTo>
                  <a:cubicBezTo>
                    <a:pt x="141257" y="77133"/>
                    <a:pt x="147089" y="78119"/>
                    <a:pt x="151593" y="76661"/>
                  </a:cubicBezTo>
                  <a:cubicBezTo>
                    <a:pt x="160362" y="73828"/>
                    <a:pt x="178045" y="58719"/>
                    <a:pt x="182308" y="55004"/>
                  </a:cubicBezTo>
                  <a:cubicBezTo>
                    <a:pt x="186538" y="53459"/>
                    <a:pt x="207407" y="46425"/>
                    <a:pt x="221962" y="52214"/>
                  </a:cubicBezTo>
                  <a:cubicBezTo>
                    <a:pt x="229641" y="55270"/>
                    <a:pt x="237107" y="56325"/>
                    <a:pt x="243767" y="56325"/>
                  </a:cubicBezTo>
                  <a:cubicBezTo>
                    <a:pt x="258171" y="56325"/>
                    <a:pt x="268794" y="51375"/>
                    <a:pt x="269583" y="50997"/>
                  </a:cubicBezTo>
                  <a:lnTo>
                    <a:pt x="322632" y="22647"/>
                  </a:lnTo>
                  <a:cubicBezTo>
                    <a:pt x="325260" y="21239"/>
                    <a:pt x="326254" y="17971"/>
                    <a:pt x="324850" y="15339"/>
                  </a:cubicBezTo>
                  <a:cubicBezTo>
                    <a:pt x="323442" y="12711"/>
                    <a:pt x="320173" y="11714"/>
                    <a:pt x="317542" y="13121"/>
                  </a:cubicBezTo>
                  <a:lnTo>
                    <a:pt x="264730" y="41349"/>
                  </a:lnTo>
                  <a:cubicBezTo>
                    <a:pt x="264546" y="41435"/>
                    <a:pt x="245761" y="50054"/>
                    <a:pt x="225954" y="42177"/>
                  </a:cubicBezTo>
                  <a:cubicBezTo>
                    <a:pt x="208703" y="35308"/>
                    <a:pt x="186322" y="42137"/>
                    <a:pt x="179536" y="44521"/>
                  </a:cubicBezTo>
                  <a:cubicBezTo>
                    <a:pt x="172008" y="41666"/>
                    <a:pt x="150847" y="34095"/>
                    <a:pt x="141444" y="35521"/>
                  </a:cubicBezTo>
                  <a:cubicBezTo>
                    <a:pt x="132667" y="36867"/>
                    <a:pt x="107107" y="38073"/>
                    <a:pt x="96754" y="36161"/>
                  </a:cubicBezTo>
                  <a:cubicBezTo>
                    <a:pt x="92383" y="34927"/>
                    <a:pt x="59184" y="16963"/>
                    <a:pt x="30172" y="691"/>
                  </a:cubicBezTo>
                  <a:cubicBezTo>
                    <a:pt x="27565" y="-767"/>
                    <a:pt x="24279" y="158"/>
                    <a:pt x="22821" y="2761"/>
                  </a:cubicBezTo>
                  <a:cubicBezTo>
                    <a:pt x="21363" y="5360"/>
                    <a:pt x="22288" y="8654"/>
                    <a:pt x="24887" y="10112"/>
                  </a:cubicBezTo>
                  <a:cubicBezTo>
                    <a:pt x="43863" y="20757"/>
                    <a:pt x="88647" y="45629"/>
                    <a:pt x="94608" y="46742"/>
                  </a:cubicBezTo>
                  <a:cubicBezTo>
                    <a:pt x="107273" y="49089"/>
                    <a:pt x="134489" y="47512"/>
                    <a:pt x="143068" y="46198"/>
                  </a:cubicBezTo>
                  <a:cubicBezTo>
                    <a:pt x="147309" y="45554"/>
                    <a:pt x="158829" y="48725"/>
                    <a:pt x="168912" y="52174"/>
                  </a:cubicBezTo>
                  <a:cubicBezTo>
                    <a:pt x="161374" y="58341"/>
                    <a:pt x="152374" y="65055"/>
                    <a:pt x="148270" y="66380"/>
                  </a:cubicBezTo>
                  <a:cubicBezTo>
                    <a:pt x="146275" y="67024"/>
                    <a:pt x="141073" y="66142"/>
                    <a:pt x="136890" y="65433"/>
                  </a:cubicBezTo>
                  <a:cubicBezTo>
                    <a:pt x="128333" y="63986"/>
                    <a:pt x="119488" y="62488"/>
                    <a:pt x="114304" y="67748"/>
                  </a:cubicBezTo>
                  <a:cubicBezTo>
                    <a:pt x="108519" y="73677"/>
                    <a:pt x="111985" y="88523"/>
                    <a:pt x="116190" y="93585"/>
                  </a:cubicBezTo>
                  <a:cubicBezTo>
                    <a:pt x="120528" y="98823"/>
                    <a:pt x="131490" y="104507"/>
                    <a:pt x="137470" y="106282"/>
                  </a:cubicBezTo>
                  <a:cubicBezTo>
                    <a:pt x="149105" y="109663"/>
                    <a:pt x="165193" y="103514"/>
                    <a:pt x="172721" y="100112"/>
                  </a:cubicBezTo>
                  <a:cubicBezTo>
                    <a:pt x="178416" y="107020"/>
                    <a:pt x="191549" y="122702"/>
                    <a:pt x="197856" y="128156"/>
                  </a:cubicBezTo>
                  <a:cubicBezTo>
                    <a:pt x="205726" y="134985"/>
                    <a:pt x="223369" y="144903"/>
                    <a:pt x="232060" y="148730"/>
                  </a:cubicBezTo>
                  <a:cubicBezTo>
                    <a:pt x="235444" y="150220"/>
                    <a:pt x="241164" y="152085"/>
                    <a:pt x="247277" y="153910"/>
                  </a:cubicBezTo>
                  <a:lnTo>
                    <a:pt x="272603" y="163346"/>
                  </a:lnTo>
                  <a:cubicBezTo>
                    <a:pt x="273928" y="164030"/>
                    <a:pt x="274932" y="165304"/>
                    <a:pt x="275591" y="167140"/>
                  </a:cubicBezTo>
                  <a:cubicBezTo>
                    <a:pt x="276736" y="170334"/>
                    <a:pt x="276505" y="174596"/>
                    <a:pt x="275026" y="177735"/>
                  </a:cubicBezTo>
                  <a:cubicBezTo>
                    <a:pt x="273219" y="181537"/>
                    <a:pt x="269165" y="183517"/>
                    <a:pt x="265324" y="182962"/>
                  </a:cubicBezTo>
                  <a:cubicBezTo>
                    <a:pt x="264564" y="182523"/>
                    <a:pt x="263711" y="182278"/>
                    <a:pt x="262829" y="182242"/>
                  </a:cubicBezTo>
                  <a:lnTo>
                    <a:pt x="228492" y="164429"/>
                  </a:lnTo>
                  <a:cubicBezTo>
                    <a:pt x="225846" y="163054"/>
                    <a:pt x="222585" y="164091"/>
                    <a:pt x="221213" y="166737"/>
                  </a:cubicBezTo>
                  <a:cubicBezTo>
                    <a:pt x="219841" y="169383"/>
                    <a:pt x="220871" y="172645"/>
                    <a:pt x="223521" y="174016"/>
                  </a:cubicBezTo>
                  <a:lnTo>
                    <a:pt x="258102" y="191951"/>
                  </a:lnTo>
                  <a:cubicBezTo>
                    <a:pt x="258207" y="192002"/>
                    <a:pt x="258315" y="192031"/>
                    <a:pt x="258419" y="192081"/>
                  </a:cubicBezTo>
                  <a:cubicBezTo>
                    <a:pt x="258682" y="193449"/>
                    <a:pt x="258437" y="194399"/>
                    <a:pt x="258048" y="195652"/>
                  </a:cubicBezTo>
                  <a:cubicBezTo>
                    <a:pt x="257785" y="196495"/>
                    <a:pt x="257479" y="197481"/>
                    <a:pt x="257325" y="198622"/>
                  </a:cubicBezTo>
                  <a:cubicBezTo>
                    <a:pt x="255057" y="202813"/>
                    <a:pt x="249923" y="204667"/>
                    <a:pt x="245520" y="202773"/>
                  </a:cubicBezTo>
                  <a:lnTo>
                    <a:pt x="216537" y="190177"/>
                  </a:lnTo>
                  <a:cubicBezTo>
                    <a:pt x="216407" y="190119"/>
                    <a:pt x="216274" y="190097"/>
                    <a:pt x="216141" y="190051"/>
                  </a:cubicBezTo>
                  <a:cubicBezTo>
                    <a:pt x="215968" y="189990"/>
                    <a:pt x="215795" y="189925"/>
                    <a:pt x="215622" y="189885"/>
                  </a:cubicBezTo>
                  <a:cubicBezTo>
                    <a:pt x="215446" y="189842"/>
                    <a:pt x="215266" y="189820"/>
                    <a:pt x="215089" y="189799"/>
                  </a:cubicBezTo>
                  <a:cubicBezTo>
                    <a:pt x="214917" y="189777"/>
                    <a:pt x="214747" y="189748"/>
                    <a:pt x="214578" y="189741"/>
                  </a:cubicBezTo>
                  <a:cubicBezTo>
                    <a:pt x="214395" y="189734"/>
                    <a:pt x="214215" y="189748"/>
                    <a:pt x="214035" y="189763"/>
                  </a:cubicBezTo>
                  <a:cubicBezTo>
                    <a:pt x="213869" y="189773"/>
                    <a:pt x="213703" y="189777"/>
                    <a:pt x="213541" y="189806"/>
                  </a:cubicBezTo>
                  <a:cubicBezTo>
                    <a:pt x="213361" y="189835"/>
                    <a:pt x="213189" y="189882"/>
                    <a:pt x="213016" y="189928"/>
                  </a:cubicBezTo>
                  <a:cubicBezTo>
                    <a:pt x="212857" y="189971"/>
                    <a:pt x="212695" y="190007"/>
                    <a:pt x="212541" y="190065"/>
                  </a:cubicBezTo>
                  <a:cubicBezTo>
                    <a:pt x="212375" y="190126"/>
                    <a:pt x="212220" y="190205"/>
                    <a:pt x="212062" y="190281"/>
                  </a:cubicBezTo>
                  <a:cubicBezTo>
                    <a:pt x="211907" y="190357"/>
                    <a:pt x="211752" y="190425"/>
                    <a:pt x="211605" y="190515"/>
                  </a:cubicBezTo>
                  <a:cubicBezTo>
                    <a:pt x="211457" y="190601"/>
                    <a:pt x="211324" y="190709"/>
                    <a:pt x="211187" y="190810"/>
                  </a:cubicBezTo>
                  <a:cubicBezTo>
                    <a:pt x="211043" y="190915"/>
                    <a:pt x="210903" y="191019"/>
                    <a:pt x="210769" y="191138"/>
                  </a:cubicBezTo>
                  <a:cubicBezTo>
                    <a:pt x="210643" y="191253"/>
                    <a:pt x="210532" y="191383"/>
                    <a:pt x="210417" y="191509"/>
                  </a:cubicBezTo>
                  <a:cubicBezTo>
                    <a:pt x="210294" y="191645"/>
                    <a:pt x="210168" y="191775"/>
                    <a:pt x="210060" y="191923"/>
                  </a:cubicBezTo>
                  <a:cubicBezTo>
                    <a:pt x="209956" y="192063"/>
                    <a:pt x="209873" y="192218"/>
                    <a:pt x="209779" y="192369"/>
                  </a:cubicBezTo>
                  <a:cubicBezTo>
                    <a:pt x="209704" y="192495"/>
                    <a:pt x="209617" y="192603"/>
                    <a:pt x="209553" y="192736"/>
                  </a:cubicBezTo>
                  <a:cubicBezTo>
                    <a:pt x="209531" y="192780"/>
                    <a:pt x="209524" y="192826"/>
                    <a:pt x="209502" y="192869"/>
                  </a:cubicBezTo>
                  <a:cubicBezTo>
                    <a:pt x="209484" y="192909"/>
                    <a:pt x="209455" y="192942"/>
                    <a:pt x="209441" y="192981"/>
                  </a:cubicBezTo>
                  <a:cubicBezTo>
                    <a:pt x="209387" y="193103"/>
                    <a:pt x="209365" y="193226"/>
                    <a:pt x="209322" y="193352"/>
                  </a:cubicBezTo>
                  <a:cubicBezTo>
                    <a:pt x="209257" y="193536"/>
                    <a:pt x="209189" y="193719"/>
                    <a:pt x="209146" y="193903"/>
                  </a:cubicBezTo>
                  <a:cubicBezTo>
                    <a:pt x="209106" y="194068"/>
                    <a:pt x="209088" y="194238"/>
                    <a:pt x="209067" y="194407"/>
                  </a:cubicBezTo>
                  <a:cubicBezTo>
                    <a:pt x="209041" y="194587"/>
                    <a:pt x="209013" y="194767"/>
                    <a:pt x="209009" y="194947"/>
                  </a:cubicBezTo>
                  <a:cubicBezTo>
                    <a:pt x="209002" y="195119"/>
                    <a:pt x="209016" y="195292"/>
                    <a:pt x="209027" y="195465"/>
                  </a:cubicBezTo>
                  <a:cubicBezTo>
                    <a:pt x="209038" y="195638"/>
                    <a:pt x="209045" y="195811"/>
                    <a:pt x="209070" y="195984"/>
                  </a:cubicBezTo>
                  <a:cubicBezTo>
                    <a:pt x="209099" y="196156"/>
                    <a:pt x="209146" y="196325"/>
                    <a:pt x="209189" y="196495"/>
                  </a:cubicBezTo>
                  <a:cubicBezTo>
                    <a:pt x="209232" y="196660"/>
                    <a:pt x="209272" y="196822"/>
                    <a:pt x="209329" y="196984"/>
                  </a:cubicBezTo>
                  <a:cubicBezTo>
                    <a:pt x="209391" y="197146"/>
                    <a:pt x="209466" y="197305"/>
                    <a:pt x="209542" y="197459"/>
                  </a:cubicBezTo>
                  <a:cubicBezTo>
                    <a:pt x="209614" y="197614"/>
                    <a:pt x="209686" y="197769"/>
                    <a:pt x="209772" y="197913"/>
                  </a:cubicBezTo>
                  <a:cubicBezTo>
                    <a:pt x="209862" y="198064"/>
                    <a:pt x="209970" y="198205"/>
                    <a:pt x="210075" y="198345"/>
                  </a:cubicBezTo>
                  <a:cubicBezTo>
                    <a:pt x="210175" y="198486"/>
                    <a:pt x="210276" y="198622"/>
                    <a:pt x="210391" y="198752"/>
                  </a:cubicBezTo>
                  <a:cubicBezTo>
                    <a:pt x="210510" y="198885"/>
                    <a:pt x="210647" y="199000"/>
                    <a:pt x="210784" y="199123"/>
                  </a:cubicBezTo>
                  <a:cubicBezTo>
                    <a:pt x="210913" y="199238"/>
                    <a:pt x="211036" y="199357"/>
                    <a:pt x="211176" y="199461"/>
                  </a:cubicBezTo>
                  <a:cubicBezTo>
                    <a:pt x="211324" y="199569"/>
                    <a:pt x="211486" y="199663"/>
                    <a:pt x="211648" y="199756"/>
                  </a:cubicBezTo>
                  <a:cubicBezTo>
                    <a:pt x="211763" y="199828"/>
                    <a:pt x="211867" y="199911"/>
                    <a:pt x="211990" y="199972"/>
                  </a:cubicBezTo>
                  <a:lnTo>
                    <a:pt x="219715" y="203799"/>
                  </a:lnTo>
                  <a:cubicBezTo>
                    <a:pt x="224298" y="205977"/>
                    <a:pt x="226264" y="211478"/>
                    <a:pt x="224093" y="216068"/>
                  </a:cubicBezTo>
                  <a:cubicBezTo>
                    <a:pt x="223027" y="218321"/>
                    <a:pt x="221152" y="220024"/>
                    <a:pt x="218812" y="220859"/>
                  </a:cubicBezTo>
                  <a:cubicBezTo>
                    <a:pt x="216504" y="221684"/>
                    <a:pt x="214024" y="221558"/>
                    <a:pt x="211813" y="220507"/>
                  </a:cubicBezTo>
                  <a:lnTo>
                    <a:pt x="190087" y="210243"/>
                  </a:lnTo>
                  <a:lnTo>
                    <a:pt x="196279" y="199738"/>
                  </a:lnTo>
                  <a:cubicBezTo>
                    <a:pt x="202241" y="189662"/>
                    <a:pt x="198886" y="176594"/>
                    <a:pt x="188806" y="170611"/>
                  </a:cubicBezTo>
                  <a:cubicBezTo>
                    <a:pt x="188802" y="170611"/>
                    <a:pt x="188799" y="170607"/>
                    <a:pt x="188799" y="170607"/>
                  </a:cubicBezTo>
                  <a:cubicBezTo>
                    <a:pt x="184299" y="167950"/>
                    <a:pt x="179212" y="167140"/>
                    <a:pt x="174424" y="167936"/>
                  </a:cubicBezTo>
                  <a:cubicBezTo>
                    <a:pt x="175407" y="158313"/>
                    <a:pt x="171018" y="148600"/>
                    <a:pt x="162331" y="143434"/>
                  </a:cubicBezTo>
                  <a:cubicBezTo>
                    <a:pt x="162324" y="143427"/>
                    <a:pt x="162313" y="143423"/>
                    <a:pt x="162303" y="143416"/>
                  </a:cubicBezTo>
                  <a:cubicBezTo>
                    <a:pt x="153673" y="138347"/>
                    <a:pt x="143212" y="139068"/>
                    <a:pt x="135295" y="144338"/>
                  </a:cubicBezTo>
                  <a:cubicBezTo>
                    <a:pt x="133722" y="139658"/>
                    <a:pt x="130551" y="135489"/>
                    <a:pt x="125975" y="132771"/>
                  </a:cubicBezTo>
                  <a:cubicBezTo>
                    <a:pt x="115819" y="126809"/>
                    <a:pt x="102715" y="130168"/>
                    <a:pt x="96765" y="140252"/>
                  </a:cubicBezTo>
                  <a:lnTo>
                    <a:pt x="82285" y="164757"/>
                  </a:lnTo>
                  <a:lnTo>
                    <a:pt x="46847" y="139406"/>
                  </a:lnTo>
                  <a:cubicBezTo>
                    <a:pt x="46721" y="139316"/>
                    <a:pt x="46581" y="139255"/>
                    <a:pt x="46447" y="139179"/>
                  </a:cubicBezTo>
                  <a:cubicBezTo>
                    <a:pt x="46318" y="139103"/>
                    <a:pt x="46203" y="139010"/>
                    <a:pt x="46066" y="138945"/>
                  </a:cubicBezTo>
                  <a:lnTo>
                    <a:pt x="7758" y="120340"/>
                  </a:lnTo>
                  <a:cubicBezTo>
                    <a:pt x="5080" y="119041"/>
                    <a:pt x="1843" y="120153"/>
                    <a:pt x="544" y="122839"/>
                  </a:cubicBezTo>
                  <a:cubicBezTo>
                    <a:pt x="-759" y="125521"/>
                    <a:pt x="360" y="128753"/>
                    <a:pt x="3042" y="130057"/>
                  </a:cubicBezTo>
                  <a:lnTo>
                    <a:pt x="40939" y="148467"/>
                  </a:lnTo>
                  <a:lnTo>
                    <a:pt x="77285" y="174470"/>
                  </a:lnTo>
                  <a:cubicBezTo>
                    <a:pt x="74502" y="183653"/>
                    <a:pt x="78221" y="193921"/>
                    <a:pt x="86865" y="199018"/>
                  </a:cubicBezTo>
                  <a:cubicBezTo>
                    <a:pt x="90259" y="201016"/>
                    <a:pt x="93985" y="201967"/>
                    <a:pt x="97665" y="201967"/>
                  </a:cubicBezTo>
                  <a:cubicBezTo>
                    <a:pt x="98849" y="201967"/>
                    <a:pt x="100023" y="201834"/>
                    <a:pt x="101185" y="201639"/>
                  </a:cubicBezTo>
                  <a:cubicBezTo>
                    <a:pt x="100163" y="211345"/>
                    <a:pt x="104591" y="221144"/>
                    <a:pt x="113364" y="226335"/>
                  </a:cubicBezTo>
                  <a:cubicBezTo>
                    <a:pt x="117241" y="228617"/>
                    <a:pt x="121565" y="229784"/>
                    <a:pt x="125971" y="229784"/>
                  </a:cubicBezTo>
                  <a:cubicBezTo>
                    <a:pt x="128214" y="229784"/>
                    <a:pt x="130479" y="229482"/>
                    <a:pt x="132714" y="228869"/>
                  </a:cubicBezTo>
                  <a:cubicBezTo>
                    <a:pt x="135465" y="228117"/>
                    <a:pt x="138024" y="226911"/>
                    <a:pt x="140339" y="225352"/>
                  </a:cubicBezTo>
                  <a:cubicBezTo>
                    <a:pt x="141930" y="230003"/>
                    <a:pt x="145113" y="234140"/>
                    <a:pt x="149674" y="236844"/>
                  </a:cubicBezTo>
                  <a:cubicBezTo>
                    <a:pt x="153061" y="238838"/>
                    <a:pt x="156784" y="239788"/>
                    <a:pt x="160459" y="239788"/>
                  </a:cubicBezTo>
                  <a:cubicBezTo>
                    <a:pt x="167746" y="239788"/>
                    <a:pt x="174859" y="236059"/>
                    <a:pt x="178837" y="229355"/>
                  </a:cubicBezTo>
                  <a:lnTo>
                    <a:pt x="184587" y="219596"/>
                  </a:lnTo>
                  <a:lnTo>
                    <a:pt x="207191" y="230277"/>
                  </a:lnTo>
                  <a:cubicBezTo>
                    <a:pt x="209902" y="231566"/>
                    <a:pt x="212807" y="232217"/>
                    <a:pt x="215723" y="232217"/>
                  </a:cubicBezTo>
                  <a:cubicBezTo>
                    <a:pt x="217984" y="232217"/>
                    <a:pt x="220252" y="231829"/>
                    <a:pt x="222448" y="231044"/>
                  </a:cubicBezTo>
                  <a:cubicBezTo>
                    <a:pt x="227509" y="229240"/>
                    <a:pt x="231567" y="225565"/>
                    <a:pt x="233863" y="220694"/>
                  </a:cubicBezTo>
                  <a:cubicBezTo>
                    <a:pt x="235455" y="217328"/>
                    <a:pt x="235998" y="213742"/>
                    <a:pt x="235674" y="210283"/>
                  </a:cubicBezTo>
                  <a:lnTo>
                    <a:pt x="241240" y="212702"/>
                  </a:lnTo>
                  <a:cubicBezTo>
                    <a:pt x="243799" y="213807"/>
                    <a:pt x="246474" y="214325"/>
                    <a:pt x="249106" y="214325"/>
                  </a:cubicBezTo>
                  <a:cubicBezTo>
                    <a:pt x="256867" y="214325"/>
                    <a:pt x="264287" y="209793"/>
                    <a:pt x="267581" y="202233"/>
                  </a:cubicBezTo>
                  <a:cubicBezTo>
                    <a:pt x="267880" y="201553"/>
                    <a:pt x="268031" y="200844"/>
                    <a:pt x="268031" y="200102"/>
                  </a:cubicBezTo>
                  <a:cubicBezTo>
                    <a:pt x="268045" y="199904"/>
                    <a:pt x="268233" y="199313"/>
                    <a:pt x="268366" y="198882"/>
                  </a:cubicBezTo>
                  <a:cubicBezTo>
                    <a:pt x="268762" y="197603"/>
                    <a:pt x="269295" y="195894"/>
                    <a:pt x="269363" y="193680"/>
                  </a:cubicBezTo>
                  <a:cubicBezTo>
                    <a:pt x="275843" y="192776"/>
                    <a:pt x="281776" y="188730"/>
                    <a:pt x="284793" y="182375"/>
                  </a:cubicBezTo>
                  <a:cubicBezTo>
                    <a:pt x="287507" y="176630"/>
                    <a:pt x="287878" y="169401"/>
                    <a:pt x="285765" y="163508"/>
                  </a:cubicBezTo>
                  <a:cubicBezTo>
                    <a:pt x="285045" y="161506"/>
                    <a:pt x="284033" y="159775"/>
                    <a:pt x="282838" y="158245"/>
                  </a:cubicBezTo>
                  <a:lnTo>
                    <a:pt x="304729" y="148762"/>
                  </a:lnTo>
                  <a:cubicBezTo>
                    <a:pt x="304769" y="148744"/>
                    <a:pt x="304801" y="148719"/>
                    <a:pt x="304841" y="148697"/>
                  </a:cubicBezTo>
                  <a:cubicBezTo>
                    <a:pt x="304873" y="148683"/>
                    <a:pt x="304909" y="148679"/>
                    <a:pt x="304942" y="148661"/>
                  </a:cubicBezTo>
                  <a:lnTo>
                    <a:pt x="343249" y="130053"/>
                  </a:lnTo>
                  <a:cubicBezTo>
                    <a:pt x="345928" y="128739"/>
                    <a:pt x="347047" y="125510"/>
                    <a:pt x="345744" y="122828"/>
                  </a:cubicBezTo>
                  <a:close/>
                  <a:moveTo>
                    <a:pt x="92347" y="189701"/>
                  </a:moveTo>
                  <a:cubicBezTo>
                    <a:pt x="87343" y="186753"/>
                    <a:pt x="85659" y="180298"/>
                    <a:pt x="88589" y="175323"/>
                  </a:cubicBezTo>
                  <a:lnTo>
                    <a:pt x="106063" y="145742"/>
                  </a:lnTo>
                  <a:cubicBezTo>
                    <a:pt x="108015" y="142441"/>
                    <a:pt x="111525" y="140608"/>
                    <a:pt x="115128" y="140608"/>
                  </a:cubicBezTo>
                  <a:cubicBezTo>
                    <a:pt x="116953" y="140608"/>
                    <a:pt x="118804" y="141080"/>
                    <a:pt x="120485" y="142066"/>
                  </a:cubicBezTo>
                  <a:cubicBezTo>
                    <a:pt x="125457" y="145022"/>
                    <a:pt x="127120" y="151466"/>
                    <a:pt x="124189" y="156430"/>
                  </a:cubicBezTo>
                  <a:lnTo>
                    <a:pt x="106722" y="186015"/>
                  </a:lnTo>
                  <a:cubicBezTo>
                    <a:pt x="103785" y="190990"/>
                    <a:pt x="97330" y="192639"/>
                    <a:pt x="92347" y="189701"/>
                  </a:cubicBezTo>
                  <a:close/>
                  <a:moveTo>
                    <a:pt x="129863" y="218440"/>
                  </a:moveTo>
                  <a:cubicBezTo>
                    <a:pt x="126065" y="219477"/>
                    <a:pt x="122155" y="218969"/>
                    <a:pt x="118847" y="217022"/>
                  </a:cubicBezTo>
                  <a:cubicBezTo>
                    <a:pt x="111924" y="212925"/>
                    <a:pt x="109728" y="203738"/>
                    <a:pt x="113944" y="196549"/>
                  </a:cubicBezTo>
                  <a:lnTo>
                    <a:pt x="136566" y="158295"/>
                  </a:lnTo>
                  <a:cubicBezTo>
                    <a:pt x="139403" y="153468"/>
                    <a:pt x="144454" y="150760"/>
                    <a:pt x="149584" y="150760"/>
                  </a:cubicBezTo>
                  <a:cubicBezTo>
                    <a:pt x="152061" y="150760"/>
                    <a:pt x="154552" y="151390"/>
                    <a:pt x="156820" y="152719"/>
                  </a:cubicBezTo>
                  <a:cubicBezTo>
                    <a:pt x="163699" y="156819"/>
                    <a:pt x="165856" y="165974"/>
                    <a:pt x="161626" y="173127"/>
                  </a:cubicBezTo>
                  <a:lnTo>
                    <a:pt x="139018" y="211377"/>
                  </a:lnTo>
                  <a:cubicBezTo>
                    <a:pt x="136959" y="214880"/>
                    <a:pt x="133708" y="217389"/>
                    <a:pt x="129863" y="218440"/>
                  </a:cubicBezTo>
                  <a:close/>
                  <a:moveTo>
                    <a:pt x="169539" y="223847"/>
                  </a:moveTo>
                  <a:cubicBezTo>
                    <a:pt x="166594" y="228812"/>
                    <a:pt x="160135" y="230461"/>
                    <a:pt x="155164" y="227530"/>
                  </a:cubicBezTo>
                  <a:cubicBezTo>
                    <a:pt x="150153" y="224564"/>
                    <a:pt x="148468" y="218109"/>
                    <a:pt x="151413" y="213138"/>
                  </a:cubicBezTo>
                  <a:lnTo>
                    <a:pt x="168873" y="183556"/>
                  </a:lnTo>
                  <a:cubicBezTo>
                    <a:pt x="170827" y="180259"/>
                    <a:pt x="174330" y="178430"/>
                    <a:pt x="177930" y="178430"/>
                  </a:cubicBezTo>
                  <a:cubicBezTo>
                    <a:pt x="179763" y="178430"/>
                    <a:pt x="181617" y="178905"/>
                    <a:pt x="183309" y="179902"/>
                  </a:cubicBezTo>
                  <a:cubicBezTo>
                    <a:pt x="188269" y="182854"/>
                    <a:pt x="189925" y="189284"/>
                    <a:pt x="186988" y="194248"/>
                  </a:cubicBezTo>
                  <a:lnTo>
                    <a:pt x="179662" y="206683"/>
                  </a:lnTo>
                  <a:cubicBezTo>
                    <a:pt x="178143" y="207057"/>
                    <a:pt x="176793" y="208065"/>
                    <a:pt x="176073" y="209592"/>
                  </a:cubicBezTo>
                  <a:cubicBezTo>
                    <a:pt x="175504" y="210797"/>
                    <a:pt x="175443" y="212101"/>
                    <a:pt x="175767" y="213296"/>
                  </a:cubicBezTo>
                  <a:lnTo>
                    <a:pt x="169539" y="223847"/>
                  </a:lnTo>
                  <a:close/>
                </a:path>
              </a:pathLst>
            </a:custGeom>
            <a:solidFill>
              <a:srgbClr val="231F2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99588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76E54C0-688A-3846-86AD-55798AF6C1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8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876E54C0-688A-3846-86AD-55798AF6C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ee4pHeader1">
            <a:extLst>
              <a:ext uri="{FF2B5EF4-FFF2-40B4-BE49-F238E27FC236}">
                <a16:creationId xmlns:a16="http://schemas.microsoft.com/office/drawing/2014/main" id="{2C7D8630-BBD1-964D-83BA-3143C9C40D6A}"/>
              </a:ext>
            </a:extLst>
          </p:cNvPr>
          <p:cNvSpPr txBox="1"/>
          <p:nvPr/>
        </p:nvSpPr>
        <p:spPr>
          <a:xfrm>
            <a:off x="1857189" y="3707077"/>
            <a:ext cx="3932497" cy="276999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2000" b="1" cap="all" dirty="0">
                <a:solidFill>
                  <a:schemeClr val="accent1"/>
                </a:solidFill>
                <a:latin typeface="+mj-lt"/>
                <a:cs typeface="Arial" pitchFamily="34" charset="0"/>
              </a:rPr>
              <a:t>Спасибо за внимание !</a:t>
            </a:r>
            <a:endParaRPr lang="en-US" sz="2000" b="1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Grp="1" noChangeAspect="1"/>
          </p:cNvPicPr>
          <p:nvPr>
            <p:ph type="pic" sz="quarter" idx="1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" r="17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25255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>
            <a:extLst>
              <a:ext uri="{FF2B5EF4-FFF2-40B4-BE49-F238E27FC236}">
                <a16:creationId xmlns:a16="http://schemas.microsoft.com/office/drawing/2014/main" id="{955D1113-FC92-B84A-8D8D-5558FFAEEF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6" name="Объект 25" hidden="1">
                        <a:extLst>
                          <a:ext uri="{FF2B5EF4-FFF2-40B4-BE49-F238E27FC236}">
                            <a16:creationId xmlns:a16="http://schemas.microsoft.com/office/drawing/2014/main" id="{955D1113-FC92-B84A-8D8D-5558FFAEE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D1303DE4-DBEC-C44D-AD49-8490E6987109}"/>
              </a:ext>
            </a:extLst>
          </p:cNvPr>
          <p:cNvGrpSpPr/>
          <p:nvPr/>
        </p:nvGrpSpPr>
        <p:grpSpPr>
          <a:xfrm>
            <a:off x="808906" y="1343266"/>
            <a:ext cx="10579820" cy="4859993"/>
            <a:chOff x="808906" y="1621248"/>
            <a:chExt cx="10579820" cy="4588671"/>
          </a:xfrm>
        </p:grpSpPr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id="{B5587B58-B441-024F-B1A2-FF40436AA7B6}"/>
                </a:ext>
              </a:extLst>
            </p:cNvPr>
            <p:cNvCxnSpPr>
              <a:cxnSpLocks/>
            </p:cNvCxnSpPr>
            <p:nvPr/>
          </p:nvCxnSpPr>
          <p:spPr>
            <a:xfrm>
              <a:off x="808906" y="2967567"/>
              <a:ext cx="1057982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id="{EEF19A05-DA8E-FC4D-BD9E-0B38C6995953}"/>
                </a:ext>
              </a:extLst>
            </p:cNvPr>
            <p:cNvCxnSpPr>
              <a:cxnSpLocks/>
            </p:cNvCxnSpPr>
            <p:nvPr/>
          </p:nvCxnSpPr>
          <p:spPr>
            <a:xfrm>
              <a:off x="808906" y="4588934"/>
              <a:ext cx="10579820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Скругленный прямоугольник 5">
              <a:extLst>
                <a:ext uri="{FF2B5EF4-FFF2-40B4-BE49-F238E27FC236}">
                  <a16:creationId xmlns:a16="http://schemas.microsoft.com/office/drawing/2014/main" id="{76B81D6C-9940-8441-AB77-9CE5929231BC}"/>
                </a:ext>
              </a:extLst>
            </p:cNvPr>
            <p:cNvSpPr/>
            <p:nvPr/>
          </p:nvSpPr>
          <p:spPr>
            <a:xfrm>
              <a:off x="808906" y="1621248"/>
              <a:ext cx="10473457" cy="4588671"/>
            </a:xfrm>
            <a:prstGeom prst="roundRect">
              <a:avLst>
                <a:gd name="adj" fmla="val 3175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E9CDA3BB-26C3-2C47-A8FB-167D6D8F8819}"/>
              </a:ext>
            </a:extLst>
          </p:cNvPr>
          <p:cNvGrpSpPr/>
          <p:nvPr/>
        </p:nvGrpSpPr>
        <p:grpSpPr>
          <a:xfrm>
            <a:off x="814782" y="1346719"/>
            <a:ext cx="4265218" cy="4871452"/>
            <a:chOff x="814782" y="1347617"/>
            <a:chExt cx="5734300" cy="4865273"/>
          </a:xfrm>
        </p:grpSpPr>
        <p:sp>
          <p:nvSpPr>
            <p:cNvPr id="8" name="Полилиния 7">
              <a:extLst>
                <a:ext uri="{FF2B5EF4-FFF2-40B4-BE49-F238E27FC236}">
                  <a16:creationId xmlns:a16="http://schemas.microsoft.com/office/drawing/2014/main" id="{ECC4CEC2-5965-4547-85A4-3EEC83F261F6}"/>
                </a:ext>
              </a:extLst>
            </p:cNvPr>
            <p:cNvSpPr/>
            <p:nvPr/>
          </p:nvSpPr>
          <p:spPr>
            <a:xfrm>
              <a:off x="814782" y="1352890"/>
              <a:ext cx="5474806" cy="4860000"/>
            </a:xfrm>
            <a:custGeom>
              <a:avLst/>
              <a:gdLst>
                <a:gd name="connsiteX0" fmla="*/ 2827536 w 5474806"/>
                <a:gd name="connsiteY0" fmla="*/ 0 h 4867096"/>
                <a:gd name="connsiteX1" fmla="*/ 4627044 w 5474806"/>
                <a:gd name="connsiteY1" fmla="*/ 0 h 4867096"/>
                <a:gd name="connsiteX2" fmla="*/ 5474806 w 5474806"/>
                <a:gd name="connsiteY2" fmla="*/ 2433549 h 4867096"/>
                <a:gd name="connsiteX3" fmla="*/ 4627044 w 5474806"/>
                <a:gd name="connsiteY3" fmla="*/ 4867096 h 4867096"/>
                <a:gd name="connsiteX4" fmla="*/ 4022173 w 5474806"/>
                <a:gd name="connsiteY4" fmla="*/ 4867096 h 4867096"/>
                <a:gd name="connsiteX5" fmla="*/ 2827536 w 5474806"/>
                <a:gd name="connsiteY5" fmla="*/ 4867096 h 4867096"/>
                <a:gd name="connsiteX6" fmla="*/ 654469 w 5474806"/>
                <a:gd name="connsiteY6" fmla="*/ 4867096 h 4867096"/>
                <a:gd name="connsiteX7" fmla="*/ 648540 w 5474806"/>
                <a:gd name="connsiteY7" fmla="*/ 4866307 h 4867096"/>
                <a:gd name="connsiteX8" fmla="*/ 133772 w 5474806"/>
                <a:gd name="connsiteY8" fmla="*/ 4866307 h 4867096"/>
                <a:gd name="connsiteX9" fmla="*/ 0 w 5474806"/>
                <a:gd name="connsiteY9" fmla="*/ 4732535 h 4867096"/>
                <a:gd name="connsiteX10" fmla="*/ 0 w 5474806"/>
                <a:gd name="connsiteY10" fmla="*/ 134562 h 4867096"/>
                <a:gd name="connsiteX11" fmla="*/ 133772 w 5474806"/>
                <a:gd name="connsiteY11" fmla="*/ 790 h 4867096"/>
                <a:gd name="connsiteX12" fmla="*/ 2827536 w 5474806"/>
                <a:gd name="connsiteY12" fmla="*/ 790 h 4867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74806" h="4867096">
                  <a:moveTo>
                    <a:pt x="2827536" y="0"/>
                  </a:moveTo>
                  <a:lnTo>
                    <a:pt x="4627044" y="0"/>
                  </a:lnTo>
                  <a:lnTo>
                    <a:pt x="5474806" y="2433549"/>
                  </a:lnTo>
                  <a:lnTo>
                    <a:pt x="4627044" y="4867096"/>
                  </a:lnTo>
                  <a:lnTo>
                    <a:pt x="4022173" y="4867096"/>
                  </a:lnTo>
                  <a:lnTo>
                    <a:pt x="2827536" y="4867096"/>
                  </a:lnTo>
                  <a:lnTo>
                    <a:pt x="654469" y="4867096"/>
                  </a:lnTo>
                  <a:lnTo>
                    <a:pt x="648540" y="4866307"/>
                  </a:lnTo>
                  <a:lnTo>
                    <a:pt x="133772" y="4866307"/>
                  </a:lnTo>
                  <a:cubicBezTo>
                    <a:pt x="59892" y="4866307"/>
                    <a:pt x="0" y="4806415"/>
                    <a:pt x="0" y="4732535"/>
                  </a:cubicBezTo>
                  <a:lnTo>
                    <a:pt x="0" y="134562"/>
                  </a:lnTo>
                  <a:cubicBezTo>
                    <a:pt x="0" y="60682"/>
                    <a:pt x="59892" y="790"/>
                    <a:pt x="133772" y="790"/>
                  </a:cubicBezTo>
                  <a:lnTo>
                    <a:pt x="2827536" y="790"/>
                  </a:lnTo>
                  <a:close/>
                </a:path>
              </a:pathLst>
            </a:custGeom>
            <a:solidFill>
              <a:srgbClr val="F7F7F7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599F0D73-B084-2D4C-BAF1-1873360C7599}"/>
                </a:ext>
              </a:extLst>
            </p:cNvPr>
            <p:cNvGrpSpPr/>
            <p:nvPr/>
          </p:nvGrpSpPr>
          <p:grpSpPr>
            <a:xfrm>
              <a:off x="5338119" y="1347617"/>
              <a:ext cx="1210963" cy="4859337"/>
              <a:chOff x="5313405" y="1347617"/>
              <a:chExt cx="1210963" cy="4859337"/>
            </a:xfrm>
          </p:grpSpPr>
          <p:sp>
            <p:nvSpPr>
              <p:cNvPr id="10" name="Нашивка 9">
                <a:extLst>
                  <a:ext uri="{FF2B5EF4-FFF2-40B4-BE49-F238E27FC236}">
                    <a16:creationId xmlns:a16="http://schemas.microsoft.com/office/drawing/2014/main" id="{4B988B62-39B9-954F-8727-12721E43474E}"/>
                  </a:ext>
                </a:extLst>
              </p:cNvPr>
              <p:cNvSpPr/>
              <p:nvPr/>
            </p:nvSpPr>
            <p:spPr>
              <a:xfrm>
                <a:off x="5436973" y="1347617"/>
                <a:ext cx="1087395" cy="4859337"/>
              </a:xfrm>
              <a:prstGeom prst="chevron">
                <a:avLst>
                  <a:gd name="adj" fmla="val 87552"/>
                </a:avLst>
              </a:prstGeom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Нашивка 10">
                <a:extLst>
                  <a:ext uri="{FF2B5EF4-FFF2-40B4-BE49-F238E27FC236}">
                    <a16:creationId xmlns:a16="http://schemas.microsoft.com/office/drawing/2014/main" id="{887F93DF-2DF1-F740-8C69-9D47F1AC1411}"/>
                  </a:ext>
                </a:extLst>
              </p:cNvPr>
              <p:cNvSpPr/>
              <p:nvPr/>
            </p:nvSpPr>
            <p:spPr>
              <a:xfrm>
                <a:off x="5313405" y="1347617"/>
                <a:ext cx="1087395" cy="4859337"/>
              </a:xfrm>
              <a:prstGeom prst="chevron">
                <a:avLst>
                  <a:gd name="adj" fmla="val 87552"/>
                </a:avLst>
              </a:prstGeom>
              <a:solidFill>
                <a:schemeClr val="accent2"/>
              </a:solidFill>
              <a:ln w="9525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2" name="ee4pHeader1">
            <a:extLst>
              <a:ext uri="{FF2B5EF4-FFF2-40B4-BE49-F238E27FC236}">
                <a16:creationId xmlns:a16="http://schemas.microsoft.com/office/drawing/2014/main" id="{B391BF3F-456D-0F43-B700-2EFA504B4663}"/>
              </a:ext>
            </a:extLst>
          </p:cNvPr>
          <p:cNvSpPr txBox="1"/>
          <p:nvPr/>
        </p:nvSpPr>
        <p:spPr>
          <a:xfrm>
            <a:off x="1040327" y="3942479"/>
            <a:ext cx="3230860" cy="693010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ru-RU" sz="1600" b="1" cap="all" dirty="0">
                <a:solidFill>
                  <a:schemeClr val="accent1"/>
                </a:solidFill>
                <a:latin typeface="+mj-lt"/>
                <a:cs typeface="Arial" pitchFamily="34" charset="0"/>
              </a:rPr>
              <a:t>Шарипова</a:t>
            </a:r>
          </a:p>
          <a:p>
            <a:pPr>
              <a:lnSpc>
                <a:spcPct val="150000"/>
              </a:lnSpc>
              <a:defRPr/>
            </a:pPr>
            <a:r>
              <a:rPr lang="ru-RU" sz="1600" b="1" cap="all" dirty="0">
                <a:solidFill>
                  <a:schemeClr val="accent1"/>
                </a:solidFill>
                <a:latin typeface="+mj-lt"/>
                <a:cs typeface="Arial" pitchFamily="34" charset="0"/>
              </a:rPr>
              <a:t>Наталья Льфатовна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96D671F-2634-1245-817F-ED413C21ECF9}"/>
              </a:ext>
            </a:extLst>
          </p:cNvPr>
          <p:cNvSpPr txBox="1"/>
          <p:nvPr/>
        </p:nvSpPr>
        <p:spPr>
          <a:xfrm>
            <a:off x="1855489" y="4890477"/>
            <a:ext cx="1861194" cy="18466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ru-RU" sz="1200" dirty="0">
                <a:solidFill>
                  <a:schemeClr val="accent1"/>
                </a:solidFill>
              </a:rPr>
              <a:t>+7 (912) 66-61-65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0C99E3-FA7D-5640-A4E4-50C053A74BC1}"/>
              </a:ext>
            </a:extLst>
          </p:cNvPr>
          <p:cNvSpPr txBox="1"/>
          <p:nvPr/>
        </p:nvSpPr>
        <p:spPr>
          <a:xfrm>
            <a:off x="1855490" y="5619795"/>
            <a:ext cx="2217378" cy="184666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ru-RU"/>
            </a:defPPr>
            <a:lvl1pPr>
              <a:spcAft>
                <a:spcPts val="1200"/>
              </a:spcAft>
              <a:defRPr sz="1600">
                <a:solidFill>
                  <a:schemeClr val="bg1"/>
                </a:solidFill>
                <a:cs typeface="Arial" pitchFamily="34" charset="0"/>
              </a:defRPr>
            </a:lvl1pPr>
          </a:lstStyle>
          <a:p>
            <a:pPr>
              <a:spcAft>
                <a:spcPts val="0"/>
              </a:spcAft>
            </a:pPr>
            <a:r>
              <a:rPr lang="en-US" sz="1200" dirty="0" err="1">
                <a:solidFill>
                  <a:schemeClr val="accent1"/>
                </a:solidFill>
              </a:rPr>
              <a:t>N,Sharipova@elem,ru</a:t>
            </a:r>
            <a:endParaRPr lang="ru-RU" sz="1200" dirty="0">
              <a:solidFill>
                <a:schemeClr val="accent1"/>
              </a:solidFill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B3152767-5DE6-6145-9D64-3BC41277933E}"/>
              </a:ext>
            </a:extLst>
          </p:cNvPr>
          <p:cNvGrpSpPr/>
          <p:nvPr/>
        </p:nvGrpSpPr>
        <p:grpSpPr>
          <a:xfrm>
            <a:off x="1142529" y="4676810"/>
            <a:ext cx="608815" cy="612000"/>
            <a:chOff x="1142529" y="4676810"/>
            <a:chExt cx="608815" cy="612000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848253BB-A06B-9440-979C-EDE00A542C6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2529" y="4676810"/>
              <a:ext cx="608815" cy="612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id="{CAE2B626-6547-B34C-8BCD-442642C7E6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1248936" y="4784810"/>
              <a:ext cx="396000" cy="396000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4129F1C-9D64-1944-A052-86F3730A936F}"/>
              </a:ext>
            </a:extLst>
          </p:cNvPr>
          <p:cNvGrpSpPr/>
          <p:nvPr/>
        </p:nvGrpSpPr>
        <p:grpSpPr>
          <a:xfrm>
            <a:off x="1142529" y="5406127"/>
            <a:ext cx="608815" cy="612000"/>
            <a:chOff x="1142529" y="5406127"/>
            <a:chExt cx="608815" cy="612000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0CB3D071-70C2-1B49-ADA1-7BDF500BC1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42529" y="5406127"/>
              <a:ext cx="608815" cy="612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9" name="Graphic 56">
              <a:extLst>
                <a:ext uri="{FF2B5EF4-FFF2-40B4-BE49-F238E27FC236}">
                  <a16:creationId xmlns:a16="http://schemas.microsoft.com/office/drawing/2014/main" id="{3AF2D09C-A1A8-8940-856B-0387C748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1248936" y="5514127"/>
              <a:ext cx="396000" cy="396000"/>
            </a:xfrm>
            <a:prstGeom prst="rect">
              <a:avLst/>
            </a:prstGeom>
          </p:spPr>
        </p:pic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3B010BC4-E57E-174B-8F6C-E3618A983A21}"/>
              </a:ext>
            </a:extLst>
          </p:cNvPr>
          <p:cNvGrpSpPr/>
          <p:nvPr/>
        </p:nvGrpSpPr>
        <p:grpSpPr>
          <a:xfrm>
            <a:off x="4675593" y="1553344"/>
            <a:ext cx="5539856" cy="519372"/>
            <a:chOff x="5556886" y="1553344"/>
            <a:chExt cx="5539856" cy="519372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3B9CC14-66A8-8540-BE78-5ABDA75B266C}"/>
                </a:ext>
              </a:extLst>
            </p:cNvPr>
            <p:cNvSpPr txBox="1"/>
            <p:nvPr/>
          </p:nvSpPr>
          <p:spPr>
            <a:xfrm>
              <a:off x="5556886" y="1553344"/>
              <a:ext cx="5527327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ru-RU" sz="2000" dirty="0"/>
                <a:t>Образование: высшее 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E008EA00-22C3-CD44-A820-409655091831}"/>
                </a:ext>
              </a:extLst>
            </p:cNvPr>
            <p:cNvSpPr txBox="1"/>
            <p:nvPr/>
          </p:nvSpPr>
          <p:spPr>
            <a:xfrm>
              <a:off x="5556886" y="1888050"/>
              <a:ext cx="553985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171450" indent="-171450" defTabSz="685800">
                <a:spcBef>
                  <a:spcPct val="300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ru-RU" sz="1200" dirty="0">
                <a:cs typeface="Calibri" panose="020F0502020204030204" pitchFamily="34" charset="0"/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DC4CE5EB-7552-A643-8CD4-58D537883EEB}"/>
              </a:ext>
            </a:extLst>
          </p:cNvPr>
          <p:cNvGrpSpPr/>
          <p:nvPr/>
        </p:nvGrpSpPr>
        <p:grpSpPr>
          <a:xfrm>
            <a:off x="5143387" y="3175220"/>
            <a:ext cx="5539856" cy="444255"/>
            <a:chOff x="5556886" y="3314787"/>
            <a:chExt cx="5539856" cy="444255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7FC9E1A-AB5A-BD43-8D8A-2D6F128A6DD0}"/>
                </a:ext>
              </a:extLst>
            </p:cNvPr>
            <p:cNvSpPr txBox="1"/>
            <p:nvPr/>
          </p:nvSpPr>
          <p:spPr>
            <a:xfrm>
              <a:off x="5705083" y="3314787"/>
              <a:ext cx="5367935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ru-RU" sz="2000" dirty="0"/>
                <a:t>Предыдущий опыт работы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0A62D4D-3460-D64A-A896-7B4D65D3F540}"/>
                </a:ext>
              </a:extLst>
            </p:cNvPr>
            <p:cNvSpPr txBox="1"/>
            <p:nvPr/>
          </p:nvSpPr>
          <p:spPr>
            <a:xfrm>
              <a:off x="5556886" y="3574376"/>
              <a:ext cx="553985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defTabSz="685800">
                <a:spcBef>
                  <a:spcPct val="30000"/>
                </a:spcBef>
              </a:pPr>
              <a:r>
                <a:rPr lang="ru-RU" sz="1200" dirty="0">
                  <a:cs typeface="Calibri" panose="020F0502020204030204" pitchFamily="34" charset="0"/>
                </a:rPr>
                <a:t>. 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04E77BDB-B544-E248-B327-BD9C4742B587}"/>
              </a:ext>
            </a:extLst>
          </p:cNvPr>
          <p:cNvGrpSpPr/>
          <p:nvPr/>
        </p:nvGrpSpPr>
        <p:grpSpPr>
          <a:xfrm>
            <a:off x="4776764" y="4861474"/>
            <a:ext cx="6148057" cy="828110"/>
            <a:chOff x="4776764" y="4861474"/>
            <a:chExt cx="6148057" cy="828110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6BFEB3D-8AD9-9348-8D5B-C087ED5E9FFD}"/>
                </a:ext>
              </a:extLst>
            </p:cNvPr>
            <p:cNvSpPr txBox="1"/>
            <p:nvPr/>
          </p:nvSpPr>
          <p:spPr>
            <a:xfrm>
              <a:off x="5556886" y="4861474"/>
              <a:ext cx="5367935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r>
                <a:rPr lang="ru-RU" sz="2000" dirty="0"/>
                <a:t>Текущее место работы 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26A99B0-DFD4-1546-A471-2446A2163F60}"/>
                </a:ext>
              </a:extLst>
            </p:cNvPr>
            <p:cNvSpPr txBox="1"/>
            <p:nvPr/>
          </p:nvSpPr>
          <p:spPr>
            <a:xfrm>
              <a:off x="4776764" y="5467985"/>
              <a:ext cx="5545570" cy="221599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</a:pPr>
              <a:r>
                <a:rPr lang="ru-RU" sz="1600" dirty="0">
                  <a:solidFill>
                    <a:prstClr val="black"/>
                  </a:solidFill>
                  <a:latin typeface="Calibri" panose="020F0502020204030204"/>
                </a:rPr>
                <a:t>АО «Уралэлектромедь», начальник отдела кадров </a:t>
              </a:r>
            </a:p>
          </p:txBody>
        </p:sp>
      </p:grpSp>
      <p:sp>
        <p:nvSpPr>
          <p:cNvPr id="47" name="Прямоугольник 46"/>
          <p:cNvSpPr/>
          <p:nvPr/>
        </p:nvSpPr>
        <p:spPr>
          <a:xfrm>
            <a:off x="5334646" y="1862674"/>
            <a:ext cx="6096000" cy="101361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Магистр юриспруденции 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Направление «Трудовое право и право социального обеспечения» 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Уральский федеральный университет «Управление персоналом»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186363" y="3697721"/>
            <a:ext cx="6096000" cy="3139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ru-RU" sz="1600" dirty="0">
                <a:solidFill>
                  <a:prstClr val="black"/>
                </a:solidFill>
                <a:latin typeface="Calibri" panose="020F0502020204030204"/>
              </a:rPr>
              <a:t>филиал ПСЦМ АО Уралэлектромедь , НЛМК , АО «Автотранспорт» </a:t>
            </a:r>
          </a:p>
        </p:txBody>
      </p:sp>
      <p:pic>
        <p:nvPicPr>
          <p:cNvPr id="53" name="Рисунок 52"/>
          <p:cNvPicPr>
            <a:picLocks noGrp="1" noChangeAspect="1"/>
          </p:cNvPicPr>
          <p:nvPr>
            <p:ph type="pic" sz="quarter" idx="10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>
            <a:fillRect/>
          </a:stretch>
        </p:blipFill>
        <p:spPr>
          <a:xfrm>
            <a:off x="1532817" y="1332813"/>
            <a:ext cx="2696450" cy="2732065"/>
          </a:xfrm>
        </p:spPr>
      </p:pic>
    </p:spTree>
    <p:extLst>
      <p:ext uri="{BB962C8B-B14F-4D97-AF65-F5344CB8AC3E}">
        <p14:creationId xmlns:p14="http://schemas.microsoft.com/office/powerpoint/2010/main" val="1768100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A552AC-63BA-844C-AE95-37DF4C0F8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0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A552AC-63BA-844C-AE95-37DF4C0F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D38F2F-D251-1745-A4A6-1A0B8E99FD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0C0B4FC-FEAB-E740-810F-E5385C9D4D17}"/>
              </a:ext>
            </a:extLst>
          </p:cNvPr>
          <p:cNvSpPr/>
          <p:nvPr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197E55A-6050-B148-B4D4-B0991D7972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8515" y="1742133"/>
            <a:ext cx="5277485" cy="3877985"/>
          </a:xfrm>
        </p:spPr>
        <p:txBody>
          <a:bodyPr>
            <a:noAutofit/>
          </a:bodyPr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3" y="3895218"/>
            <a:ext cx="9797235" cy="1241037"/>
          </a:xfrm>
        </p:spPr>
        <p:txBody>
          <a:bodyPr vert="horz">
            <a:normAutofit fontScale="90000"/>
          </a:bodyPr>
          <a:lstStyle/>
          <a:p>
            <a:r>
              <a:rPr lang="ru-RU" dirty="0" smtClean="0"/>
              <a:t>Система работы по ранней профориентации 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570A93F-90D4-2540-967F-CC35A3E0F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CD28CAB-7A4F-A349-B218-369ED001DD5B}"/>
              </a:ext>
            </a:extLst>
          </p:cNvPr>
          <p:cNvGrpSpPr/>
          <p:nvPr/>
        </p:nvGrpSpPr>
        <p:grpSpPr>
          <a:xfrm>
            <a:off x="229706" y="3895218"/>
            <a:ext cx="361110" cy="371578"/>
            <a:chOff x="383279" y="3833472"/>
            <a:chExt cx="361110" cy="371578"/>
          </a:xfrm>
          <a:solidFill>
            <a:schemeClr val="bg1"/>
          </a:solidFill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B8CCBC2-0160-8944-8E07-E7C729E0C800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3DAFE7B4-D1C7-204E-BE43-47827FE0405A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 txBox="1">
            <a:spLocks/>
          </p:cNvSpPr>
          <p:nvPr/>
        </p:nvSpPr>
        <p:spPr>
          <a:xfrm>
            <a:off x="590816" y="1783114"/>
            <a:ext cx="4456871" cy="1241037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</a:t>
            </a:r>
            <a:r>
              <a:rPr lang="ru-RU" dirty="0" smtClean="0"/>
              <a:t>риложение </a:t>
            </a:r>
            <a:r>
              <a:rPr lang="ru-RU" dirty="0"/>
              <a:t>1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7279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4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B1FD3F5-D117-F04A-92B9-D823373C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8490" y="332672"/>
            <a:ext cx="8489035" cy="553998"/>
          </a:xfrm>
          <a:solidFill>
            <a:schemeClr val="bg1"/>
          </a:solidFill>
        </p:spPr>
        <p:txBody>
          <a:bodyPr vert="horz"/>
          <a:lstStyle/>
          <a:p>
            <a:pPr lvl="0">
              <a:spcAft>
                <a:spcPts val="300"/>
              </a:spcAft>
              <a:defRPr/>
            </a:pPr>
            <a:r>
              <a:rPr lang="ru-RU" sz="2000" dirty="0"/>
              <a:t>Работа по </a:t>
            </a:r>
            <a:r>
              <a:rPr lang="ru-RU" sz="2000" dirty="0">
                <a:solidFill>
                  <a:srgbClr val="000000"/>
                </a:solidFill>
              </a:rPr>
              <a:t>профессиональной   ориентации учащихся общеобразовательных учреждений</a:t>
            </a:r>
            <a:endParaRPr lang="en-US" sz="2000" b="0" dirty="0">
              <a:solidFill>
                <a:srgbClr val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/>
          <a:srcRect t="2788" r="2432"/>
          <a:stretch/>
        </p:blipFill>
        <p:spPr>
          <a:xfrm>
            <a:off x="765545" y="922735"/>
            <a:ext cx="11089758" cy="5503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21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6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1B1FD3F5-D117-F04A-92B9-D823373C12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2110" y="186225"/>
            <a:ext cx="9551752" cy="830997"/>
          </a:xfrm>
          <a:solidFill>
            <a:schemeClr val="bg1"/>
          </a:solidFill>
        </p:spPr>
        <p:txBody>
          <a:bodyPr vert="horz"/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smtClean="0"/>
              <a:t>Использование лучших собственных практик по ранней профориентации* </a:t>
            </a:r>
            <a:endParaRPr lang="ru-RU" sz="20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4795" y="1092784"/>
            <a:ext cx="11302409" cy="536512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741779" y="6457905"/>
            <a:ext cx="47788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*</a:t>
            </a:r>
            <a:r>
              <a:rPr lang="ru-RU" sz="1000" dirty="0" smtClean="0"/>
              <a:t>Подготовку </a:t>
            </a:r>
            <a:r>
              <a:rPr lang="ru-RU" sz="1000" dirty="0"/>
              <a:t>рабочих кадров начинаем </a:t>
            </a:r>
            <a:r>
              <a:rPr lang="ru-RU" sz="1000" dirty="0" smtClean="0"/>
              <a:t>с начальной школы 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88943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A552AC-63BA-844C-AE95-37DF4C0F8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09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A552AC-63BA-844C-AE95-37DF4C0F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D38F2F-D251-1745-A4A6-1A0B8E99FD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0C0B4FC-FEAB-E740-810F-E5385C9D4D17}"/>
              </a:ext>
            </a:extLst>
          </p:cNvPr>
          <p:cNvSpPr/>
          <p:nvPr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197E55A-6050-B148-B4D4-B0991D7972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8515" y="1742133"/>
            <a:ext cx="5277485" cy="3877985"/>
          </a:xfrm>
        </p:spPr>
        <p:txBody>
          <a:bodyPr>
            <a:noAutofit/>
          </a:bodyPr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3" y="3895218"/>
            <a:ext cx="9797235" cy="1241037"/>
          </a:xfrm>
        </p:spPr>
        <p:txBody>
          <a:bodyPr vert="horz">
            <a:normAutofit fontScale="90000"/>
          </a:bodyPr>
          <a:lstStyle/>
          <a:p>
            <a:r>
              <a:rPr lang="ru-RU" dirty="0" smtClean="0"/>
              <a:t>Анализ кадровой ситуации  филиал ППМ АО «</a:t>
            </a:r>
            <a:r>
              <a:rPr lang="ru-RU" dirty="0" err="1" smtClean="0"/>
              <a:t>Уралэлектормедь</a:t>
            </a:r>
            <a:r>
              <a:rPr lang="ru-RU" dirty="0" smtClean="0"/>
              <a:t>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570A93F-90D4-2540-967F-CC35A3E0F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CD28CAB-7A4F-A349-B218-369ED001DD5B}"/>
              </a:ext>
            </a:extLst>
          </p:cNvPr>
          <p:cNvGrpSpPr/>
          <p:nvPr/>
        </p:nvGrpSpPr>
        <p:grpSpPr>
          <a:xfrm>
            <a:off x="229706" y="3895218"/>
            <a:ext cx="361110" cy="371578"/>
            <a:chOff x="383279" y="3833472"/>
            <a:chExt cx="361110" cy="371578"/>
          </a:xfrm>
          <a:solidFill>
            <a:schemeClr val="bg1"/>
          </a:solidFill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B8CCBC2-0160-8944-8E07-E7C729E0C800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3DAFE7B4-D1C7-204E-BE43-47827FE0405A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 txBox="1">
            <a:spLocks/>
          </p:cNvSpPr>
          <p:nvPr/>
        </p:nvSpPr>
        <p:spPr>
          <a:xfrm>
            <a:off x="590816" y="1783114"/>
            <a:ext cx="4456871" cy="1241037"/>
          </a:xfrm>
          <a:prstGeom prst="rect">
            <a:avLst/>
          </a:prstGeom>
        </p:spPr>
        <p:txBody>
          <a:bodyPr vert="horz" lIns="0" tIns="0" rIns="0" bIns="0" rtlCol="0" anchor="t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п</a:t>
            </a:r>
            <a:r>
              <a:rPr lang="ru-RU" dirty="0" smtClean="0"/>
              <a:t>риложение </a:t>
            </a:r>
            <a:r>
              <a:rPr lang="ru-RU" dirty="0"/>
              <a:t>2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4794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9861DA33-40DF-F443-A0D6-AF28EA0BE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3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9861DA33-40DF-F443-A0D6-AF28EA0BE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900DD-76C6-0F49-A1E7-424E74850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304261"/>
            <a:ext cx="9412780" cy="332399"/>
          </a:xfrm>
        </p:spPr>
        <p:txBody>
          <a:bodyPr vert="horz"/>
          <a:lstStyle/>
          <a:p>
            <a:r>
              <a:rPr lang="ru-RU" dirty="0"/>
              <a:t>Анализ потребности в персонале филиала ППМ 2018-2021 </a:t>
            </a:r>
            <a:r>
              <a:rPr lang="ru-RU" dirty="0" err="1"/>
              <a:t>г.г</a:t>
            </a:r>
            <a:r>
              <a:rPr lang="ru-RU" dirty="0"/>
              <a:t>.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A551B38E-3857-6942-8A77-EC82946FFE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* на основании отчетов по численности филиала Производства полиметаллов АО «Уралэлектромедь»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438BB14-E47D-5348-B9AA-9832D0BFEB9B}"/>
              </a:ext>
            </a:extLst>
          </p:cNvPr>
          <p:cNvGrpSpPr/>
          <p:nvPr/>
        </p:nvGrpSpPr>
        <p:grpSpPr>
          <a:xfrm>
            <a:off x="424543" y="903514"/>
            <a:ext cx="11332028" cy="4199536"/>
            <a:chOff x="777897" y="1356783"/>
            <a:chExt cx="5187219" cy="3478107"/>
          </a:xfrm>
        </p:grpSpPr>
        <p:sp>
          <p:nvSpPr>
            <p:cNvPr id="4" name="Скругленный прямоугольник 3">
              <a:extLst>
                <a:ext uri="{FF2B5EF4-FFF2-40B4-BE49-F238E27FC236}">
                  <a16:creationId xmlns:a16="http://schemas.microsoft.com/office/drawing/2014/main" id="{1BCD49BE-F0D4-5B44-8516-018F47BC6FBD}"/>
                </a:ext>
              </a:extLst>
            </p:cNvPr>
            <p:cNvSpPr/>
            <p:nvPr/>
          </p:nvSpPr>
          <p:spPr>
            <a:xfrm>
              <a:off x="808906" y="1356783"/>
              <a:ext cx="5125202" cy="3478107"/>
            </a:xfrm>
            <a:prstGeom prst="roundRect">
              <a:avLst>
                <a:gd name="adj" fmla="val 40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aphicFrame>
          <p:nvGraphicFramePr>
            <p:cNvPr id="6" name="Диаграмма 5">
              <a:extLst>
                <a:ext uri="{FF2B5EF4-FFF2-40B4-BE49-F238E27FC236}">
                  <a16:creationId xmlns:a16="http://schemas.microsoft.com/office/drawing/2014/main" id="{CF87E933-404C-D046-B8C2-53639BC59DF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58041178"/>
                </p:ext>
              </p:extLst>
            </p:nvPr>
          </p:nvGraphicFramePr>
          <p:xfrm>
            <a:off x="777897" y="1561171"/>
            <a:ext cx="5187219" cy="315941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5C645C89-239F-2B46-84E1-E69CEE95D1DF}"/>
                </a:ext>
              </a:extLst>
            </p:cNvPr>
            <p:cNvCxnSpPr>
              <a:cxnSpLocks/>
            </p:cNvCxnSpPr>
            <p:nvPr/>
          </p:nvCxnSpPr>
          <p:spPr>
            <a:xfrm>
              <a:off x="821508" y="1604823"/>
              <a:ext cx="0" cy="430887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26AFF4A1-0248-454B-8565-37D720FB0773}"/>
              </a:ext>
            </a:extLst>
          </p:cNvPr>
          <p:cNvGrpSpPr/>
          <p:nvPr/>
        </p:nvGrpSpPr>
        <p:grpSpPr>
          <a:xfrm>
            <a:off x="808906" y="5099622"/>
            <a:ext cx="10579819" cy="1107996"/>
            <a:chOff x="808906" y="5099622"/>
            <a:chExt cx="10579819" cy="1107996"/>
          </a:xfrm>
        </p:grpSpPr>
        <p:sp>
          <p:nvSpPr>
            <p:cNvPr id="9" name="Скругленный прямоугольник 8">
              <a:extLst>
                <a:ext uri="{FF2B5EF4-FFF2-40B4-BE49-F238E27FC236}">
                  <a16:creationId xmlns:a16="http://schemas.microsoft.com/office/drawing/2014/main" id="{518860A0-71E0-7444-B2F8-A2C8EB8AD198}"/>
                </a:ext>
              </a:extLst>
            </p:cNvPr>
            <p:cNvSpPr/>
            <p:nvPr/>
          </p:nvSpPr>
          <p:spPr>
            <a:xfrm>
              <a:off x="808906" y="5103050"/>
              <a:ext cx="10579819" cy="1097725"/>
            </a:xfrm>
            <a:prstGeom prst="roundRect">
              <a:avLst/>
            </a:pr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9" name="ee4pHeader1">
              <a:extLst>
                <a:ext uri="{FF2B5EF4-FFF2-40B4-BE49-F238E27FC236}">
                  <a16:creationId xmlns:a16="http://schemas.microsoft.com/office/drawing/2014/main" id="{0C503AF3-ACB9-8E4E-A04D-4EA8E6AEE62C}"/>
                </a:ext>
              </a:extLst>
            </p:cNvPr>
            <p:cNvSpPr txBox="1"/>
            <p:nvPr/>
          </p:nvSpPr>
          <p:spPr>
            <a:xfrm>
              <a:off x="1026445" y="5284288"/>
              <a:ext cx="2216620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3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/>
                <a:t>Основной технологический персонал «Металлургия цветных металлов» 45-53 человека в год</a:t>
              </a:r>
            </a:p>
          </p:txBody>
        </p: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FE1EA6CF-C7E8-9C46-85F5-FC883D2F3E0C}"/>
                </a:ext>
              </a:extLst>
            </p:cNvPr>
            <p:cNvCxnSpPr/>
            <p:nvPr/>
          </p:nvCxnSpPr>
          <p:spPr>
            <a:xfrm>
              <a:off x="3455555" y="5102507"/>
              <a:ext cx="0" cy="1097725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6FF82650-C455-BD48-938B-38F8C9766A82}"/>
                </a:ext>
              </a:extLst>
            </p:cNvPr>
            <p:cNvCxnSpPr/>
            <p:nvPr/>
          </p:nvCxnSpPr>
          <p:spPr>
            <a:xfrm>
              <a:off x="6097155" y="5102507"/>
              <a:ext cx="0" cy="1097725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145E2495-873C-FC4C-A778-912D14A4755A}"/>
                </a:ext>
              </a:extLst>
            </p:cNvPr>
            <p:cNvCxnSpPr/>
            <p:nvPr/>
          </p:nvCxnSpPr>
          <p:spPr>
            <a:xfrm>
              <a:off x="8738755" y="5102507"/>
              <a:ext cx="0" cy="1097725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e4pHeader1">
              <a:extLst>
                <a:ext uri="{FF2B5EF4-FFF2-40B4-BE49-F238E27FC236}">
                  <a16:creationId xmlns:a16="http://schemas.microsoft.com/office/drawing/2014/main" id="{61475AF4-3627-294E-A9EE-CC63E034F7E2}"/>
                </a:ext>
              </a:extLst>
            </p:cNvPr>
            <p:cNvSpPr txBox="1"/>
            <p:nvPr/>
          </p:nvSpPr>
          <p:spPr>
            <a:xfrm>
              <a:off x="3668045" y="5284288"/>
              <a:ext cx="2216620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3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/>
                <a:t>Ремонтный персонал «Технология машиностроения» 27-30 человек в год</a:t>
              </a:r>
            </a:p>
          </p:txBody>
        </p:sp>
        <p:sp>
          <p:nvSpPr>
            <p:cNvPr id="25" name="ee4pHeader1">
              <a:extLst>
                <a:ext uri="{FF2B5EF4-FFF2-40B4-BE49-F238E27FC236}">
                  <a16:creationId xmlns:a16="http://schemas.microsoft.com/office/drawing/2014/main" id="{57EA2133-4E4F-8143-A4B8-E5DAA137F1E0}"/>
                </a:ext>
              </a:extLst>
            </p:cNvPr>
            <p:cNvSpPr txBox="1"/>
            <p:nvPr/>
          </p:nvSpPr>
          <p:spPr>
            <a:xfrm>
              <a:off x="6309645" y="5099622"/>
              <a:ext cx="2216620" cy="1107996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lvl="3">
                <a:spcAft>
                  <a:spcPts val="300"/>
                </a:spcAft>
                <a:defRPr/>
              </a:pPr>
              <a:r>
                <a:rPr lang="ru-RU" sz="1200" dirty="0"/>
                <a:t>Ремонтный персонал «Техническая эксплуатация и обслуживание электрического и электромеханического оборудования» 18-20 человек в год </a:t>
              </a:r>
            </a:p>
          </p:txBody>
        </p:sp>
        <p:sp>
          <p:nvSpPr>
            <p:cNvPr id="26" name="ee4pHeader1">
              <a:extLst>
                <a:ext uri="{FF2B5EF4-FFF2-40B4-BE49-F238E27FC236}">
                  <a16:creationId xmlns:a16="http://schemas.microsoft.com/office/drawing/2014/main" id="{7824E3EC-7E6B-0F44-865F-25D4784A90EB}"/>
                </a:ext>
              </a:extLst>
            </p:cNvPr>
            <p:cNvSpPr txBox="1"/>
            <p:nvPr/>
          </p:nvSpPr>
          <p:spPr>
            <a:xfrm>
              <a:off x="8951245" y="5284288"/>
              <a:ext cx="2216620" cy="738664"/>
            </a:xfrm>
            <a:prstGeom prst="rect">
              <a:avLst/>
            </a:prstGeom>
            <a:noFill/>
            <a:ln cap="rnd">
              <a:noFill/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3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/>
                <a:t>.Ремонтный персонал специализация «сварочное производство» 18-19 человек в год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29560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89C4B9F1-4B57-4604-860A-7214BD97E64F}"/>
              </a:ext>
            </a:extLst>
          </p:cNvPr>
          <p:cNvGrpSpPr/>
          <p:nvPr/>
        </p:nvGrpSpPr>
        <p:grpSpPr>
          <a:xfrm>
            <a:off x="8135516" y="1356784"/>
            <a:ext cx="3256416" cy="4843395"/>
            <a:chOff x="8135516" y="1356784"/>
            <a:chExt cx="3256416" cy="4843395"/>
          </a:xfrm>
        </p:grpSpPr>
        <p:sp>
          <p:nvSpPr>
            <p:cNvPr id="74" name="Полилиния 73">
              <a:extLst>
                <a:ext uri="{FF2B5EF4-FFF2-40B4-BE49-F238E27FC236}">
                  <a16:creationId xmlns:a16="http://schemas.microsoft.com/office/drawing/2014/main" id="{E1B17D75-EF22-D143-B1A4-0CA0ED445838}"/>
                </a:ext>
              </a:extLst>
            </p:cNvPr>
            <p:cNvSpPr/>
            <p:nvPr/>
          </p:nvSpPr>
          <p:spPr>
            <a:xfrm>
              <a:off x="8139562" y="1356784"/>
              <a:ext cx="3247865" cy="503504"/>
            </a:xfrm>
            <a:custGeom>
              <a:avLst/>
              <a:gdLst>
                <a:gd name="connsiteX0" fmla="*/ 111532 w 3247865"/>
                <a:gd name="connsiteY0" fmla="*/ 0 h 466418"/>
                <a:gd name="connsiteX1" fmla="*/ 3136333 w 3247865"/>
                <a:gd name="connsiteY1" fmla="*/ 0 h 466418"/>
                <a:gd name="connsiteX2" fmla="*/ 3247865 w 3247865"/>
                <a:gd name="connsiteY2" fmla="*/ 111532 h 466418"/>
                <a:gd name="connsiteX3" fmla="*/ 3247865 w 3247865"/>
                <a:gd name="connsiteY3" fmla="*/ 466418 h 466418"/>
                <a:gd name="connsiteX4" fmla="*/ 0 w 3247865"/>
                <a:gd name="connsiteY4" fmla="*/ 466418 h 466418"/>
                <a:gd name="connsiteX5" fmla="*/ 0 w 3247865"/>
                <a:gd name="connsiteY5" fmla="*/ 111532 h 466418"/>
                <a:gd name="connsiteX6" fmla="*/ 111532 w 3247865"/>
                <a:gd name="connsiteY6" fmla="*/ 0 h 466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7865" h="466418">
                  <a:moveTo>
                    <a:pt x="111532" y="0"/>
                  </a:moveTo>
                  <a:lnTo>
                    <a:pt x="3136333" y="0"/>
                  </a:lnTo>
                  <a:cubicBezTo>
                    <a:pt x="3197930" y="0"/>
                    <a:pt x="3247865" y="49935"/>
                    <a:pt x="3247865" y="111532"/>
                  </a:cubicBezTo>
                  <a:lnTo>
                    <a:pt x="3247865" y="466418"/>
                  </a:lnTo>
                  <a:lnTo>
                    <a:pt x="0" y="466418"/>
                  </a:lnTo>
                  <a:lnTo>
                    <a:pt x="0" y="111532"/>
                  </a:lnTo>
                  <a:cubicBezTo>
                    <a:pt x="0" y="49935"/>
                    <a:pt x="49935" y="0"/>
                    <a:pt x="111532" y="0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" name="Полилиния 6">
              <a:extLst>
                <a:ext uri="{FF2B5EF4-FFF2-40B4-BE49-F238E27FC236}">
                  <a16:creationId xmlns:a16="http://schemas.microsoft.com/office/drawing/2014/main" id="{028693F2-1531-5647-917E-3A4BA0EE1B91}"/>
                </a:ext>
              </a:extLst>
            </p:cNvPr>
            <p:cNvSpPr/>
            <p:nvPr/>
          </p:nvSpPr>
          <p:spPr>
            <a:xfrm>
              <a:off x="8144067" y="1843632"/>
              <a:ext cx="3247865" cy="4356547"/>
            </a:xfrm>
            <a:custGeom>
              <a:avLst/>
              <a:gdLst>
                <a:gd name="connsiteX0" fmla="*/ 0 w 3247865"/>
                <a:gd name="connsiteY0" fmla="*/ 0 h 3888472"/>
                <a:gd name="connsiteX1" fmla="*/ 3247865 w 3247865"/>
                <a:gd name="connsiteY1" fmla="*/ 0 h 3888472"/>
                <a:gd name="connsiteX2" fmla="*/ 3247865 w 3247865"/>
                <a:gd name="connsiteY2" fmla="*/ 3760506 h 3888472"/>
                <a:gd name="connsiteX3" fmla="*/ 3119899 w 3247865"/>
                <a:gd name="connsiteY3" fmla="*/ 3888472 h 3888472"/>
                <a:gd name="connsiteX4" fmla="*/ 127966 w 3247865"/>
                <a:gd name="connsiteY4" fmla="*/ 3888472 h 3888472"/>
                <a:gd name="connsiteX5" fmla="*/ 0 w 3247865"/>
                <a:gd name="connsiteY5" fmla="*/ 3760506 h 3888472"/>
                <a:gd name="connsiteX6" fmla="*/ 0 w 3247865"/>
                <a:gd name="connsiteY6" fmla="*/ 0 h 3888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47865" h="3888472">
                  <a:moveTo>
                    <a:pt x="0" y="0"/>
                  </a:moveTo>
                  <a:lnTo>
                    <a:pt x="3247865" y="0"/>
                  </a:lnTo>
                  <a:lnTo>
                    <a:pt x="3247865" y="3760506"/>
                  </a:lnTo>
                  <a:cubicBezTo>
                    <a:pt x="3247865" y="3831180"/>
                    <a:pt x="3190573" y="3888472"/>
                    <a:pt x="3119899" y="3888472"/>
                  </a:cubicBezTo>
                  <a:lnTo>
                    <a:pt x="127966" y="3888472"/>
                  </a:lnTo>
                  <a:cubicBezTo>
                    <a:pt x="57292" y="3888472"/>
                    <a:pt x="0" y="3831180"/>
                    <a:pt x="0" y="376050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 dirty="0"/>
            </a:p>
          </p:txBody>
        </p:sp>
        <p:cxnSp>
          <p:nvCxnSpPr>
            <p:cNvPr id="8" name="Прямая соединительная линия 7">
              <a:extLst>
                <a:ext uri="{FF2B5EF4-FFF2-40B4-BE49-F238E27FC236}">
                  <a16:creationId xmlns:a16="http://schemas.microsoft.com/office/drawing/2014/main" id="{8CC5AB5E-1787-9C45-B235-663757A9F29B}"/>
                </a:ext>
              </a:extLst>
            </p:cNvPr>
            <p:cNvCxnSpPr>
              <a:cxnSpLocks/>
            </p:cNvCxnSpPr>
            <p:nvPr/>
          </p:nvCxnSpPr>
          <p:spPr>
            <a:xfrm>
              <a:off x="8135516" y="3584261"/>
              <a:ext cx="324786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3D5C36B7-636F-384F-9D47-A71D7EEEB760}"/>
                </a:ext>
              </a:extLst>
            </p:cNvPr>
            <p:cNvCxnSpPr>
              <a:cxnSpLocks/>
            </p:cNvCxnSpPr>
            <p:nvPr/>
          </p:nvCxnSpPr>
          <p:spPr>
            <a:xfrm>
              <a:off x="8135516" y="4452941"/>
              <a:ext cx="324786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8E9FEB3A-3A2F-014B-B24B-FB556075D064}"/>
                </a:ext>
              </a:extLst>
            </p:cNvPr>
            <p:cNvCxnSpPr>
              <a:cxnSpLocks/>
            </p:cNvCxnSpPr>
            <p:nvPr/>
          </p:nvCxnSpPr>
          <p:spPr>
            <a:xfrm>
              <a:off x="8135516" y="5321621"/>
              <a:ext cx="324786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F101668D-8FA6-944C-99EF-DCC07A193C0A}"/>
                </a:ext>
              </a:extLst>
            </p:cNvPr>
            <p:cNvCxnSpPr>
              <a:cxnSpLocks/>
            </p:cNvCxnSpPr>
            <p:nvPr/>
          </p:nvCxnSpPr>
          <p:spPr>
            <a:xfrm>
              <a:off x="8135516" y="2715581"/>
              <a:ext cx="3247865" cy="0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D4582FE8-692C-FC44-8FA0-7A4F0B64464C}"/>
                </a:ext>
              </a:extLst>
            </p:cNvPr>
            <p:cNvSpPr/>
            <p:nvPr/>
          </p:nvSpPr>
          <p:spPr>
            <a:xfrm>
              <a:off x="9008914" y="5463933"/>
              <a:ext cx="2217999" cy="590349"/>
            </a:xfrm>
            <a:prstGeom prst="rect">
              <a:avLst/>
            </a:prstGeom>
          </p:spPr>
          <p:txBody>
            <a:bodyPr wrap="square" lIns="0" tIns="0" rIns="0" bIns="36000" anchor="ctr">
              <a:spAutoFit/>
            </a:bodyPr>
            <a:lstStyle/>
            <a:p>
              <a:r>
                <a:rPr lang="ru-RU" sz="1200" dirty="0"/>
                <a:t>вакансий  лаборантов химического, спектрального, пробирного анализа  в 7 раз</a:t>
              </a:r>
            </a:p>
          </p:txBody>
        </p:sp>
        <p:sp>
          <p:nvSpPr>
            <p:cNvPr id="24" name="Прямоугольник 15">
              <a:extLst>
                <a:ext uri="{FF2B5EF4-FFF2-40B4-BE49-F238E27FC236}">
                  <a16:creationId xmlns:a16="http://schemas.microsoft.com/office/drawing/2014/main" id="{7EE692B5-DB73-C045-BCC4-29BA6C43AF36}"/>
                </a:ext>
              </a:extLst>
            </p:cNvPr>
            <p:cNvSpPr/>
            <p:nvPr/>
          </p:nvSpPr>
          <p:spPr>
            <a:xfrm>
              <a:off x="9097701" y="3838337"/>
              <a:ext cx="2217999" cy="405683"/>
            </a:xfrm>
            <a:prstGeom prst="rect">
              <a:avLst/>
            </a:prstGeom>
          </p:spPr>
          <p:txBody>
            <a:bodyPr wrap="square" lIns="0" tIns="0" rIns="0" bIns="36000" anchor="ctr">
              <a:spAutoFit/>
            </a:bodyPr>
            <a:lstStyle/>
            <a:p>
              <a:r>
                <a:rPr lang="ru-RU" sz="1200" dirty="0"/>
                <a:t> ремонтного персонала (электромонтёры)  в 7 раз </a:t>
              </a:r>
            </a:p>
          </p:txBody>
        </p:sp>
        <p:sp>
          <p:nvSpPr>
            <p:cNvPr id="25" name="Прямоугольник 15">
              <a:extLst>
                <a:ext uri="{FF2B5EF4-FFF2-40B4-BE49-F238E27FC236}">
                  <a16:creationId xmlns:a16="http://schemas.microsoft.com/office/drawing/2014/main" id="{6A380644-485A-6848-ADE7-FD0A1A134867}"/>
                </a:ext>
              </a:extLst>
            </p:cNvPr>
            <p:cNvSpPr/>
            <p:nvPr/>
          </p:nvSpPr>
          <p:spPr>
            <a:xfrm>
              <a:off x="9097700" y="2950313"/>
              <a:ext cx="2217999" cy="405683"/>
            </a:xfrm>
            <a:prstGeom prst="rect">
              <a:avLst/>
            </a:prstGeom>
          </p:spPr>
          <p:txBody>
            <a:bodyPr wrap="square" lIns="0" tIns="0" rIns="0" bIns="36000" anchor="ctr">
              <a:spAutoFit/>
            </a:bodyPr>
            <a:lstStyle/>
            <a:p>
              <a:r>
                <a:rPr lang="ru-RU" sz="1200" dirty="0"/>
                <a:t>основного производства </a:t>
              </a:r>
            </a:p>
            <a:p>
              <a:r>
                <a:rPr lang="ru-RU" sz="1200" dirty="0"/>
                <a:t>в 5 раз 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4DFA1F58-B32B-0C44-BA4B-1D58CCA2C998}"/>
                </a:ext>
              </a:extLst>
            </p:cNvPr>
            <p:cNvSpPr/>
            <p:nvPr/>
          </p:nvSpPr>
          <p:spPr>
            <a:xfrm>
              <a:off x="8604502" y="1424322"/>
              <a:ext cx="2622411" cy="36933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defTabSz="895350">
                <a:spcAft>
                  <a:spcPts val="600"/>
                </a:spcAft>
                <a:buClr>
                  <a:schemeClr val="accent1"/>
                </a:buClr>
              </a:pPr>
              <a:r>
                <a:rPr lang="ru-RU" sz="1200" b="1" dirty="0"/>
                <a:t>Увеличение сроков закрытия вакансий предприятия </a:t>
              </a: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F7CCB9B1-1D0E-0A48-963E-D477DA1263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F7CCB9B1-1D0E-0A48-963E-D477DA126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65EFC3-495B-004C-9489-8385F14F0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238608" cy="664797"/>
          </a:xfrm>
        </p:spPr>
        <p:txBody>
          <a:bodyPr vert="horz"/>
          <a:lstStyle/>
          <a:p>
            <a:r>
              <a:rPr lang="ru-RU" dirty="0"/>
              <a:t>Средние сроки закрытия вакансий по востребованным на филиале ППМ профессиям 2018-2021 </a:t>
            </a:r>
            <a:r>
              <a:rPr lang="ru-RU" dirty="0" err="1"/>
              <a:t>г.г</a:t>
            </a:r>
            <a:r>
              <a:rPr lang="ru-RU" dirty="0"/>
              <a:t>.</a:t>
            </a:r>
          </a:p>
        </p:txBody>
      </p:sp>
      <p:sp>
        <p:nvSpPr>
          <p:cNvPr id="35" name="Текст 34">
            <a:extLst>
              <a:ext uri="{FF2B5EF4-FFF2-40B4-BE49-F238E27FC236}">
                <a16:creationId xmlns:a16="http://schemas.microsoft.com/office/drawing/2014/main" id="{623C632D-FED2-C54F-BDD5-ACCF47D7AC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* на основании отчетов по численности филиала Производства полиметаллов АО «Уралэлектромедь»</a:t>
            </a:r>
          </a:p>
          <a:p>
            <a:endParaRPr lang="ru-RU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F4EDF1AE-620E-7B49-997F-9ED0D8196101}"/>
              </a:ext>
            </a:extLst>
          </p:cNvPr>
          <p:cNvGrpSpPr/>
          <p:nvPr/>
        </p:nvGrpSpPr>
        <p:grpSpPr>
          <a:xfrm>
            <a:off x="821508" y="1341438"/>
            <a:ext cx="6946389" cy="4859337"/>
            <a:chOff x="821508" y="1341438"/>
            <a:chExt cx="6946389" cy="4859337"/>
          </a:xfrm>
        </p:grpSpPr>
        <p:graphicFrame>
          <p:nvGraphicFramePr>
            <p:cNvPr id="44" name="Диаграмма 43">
              <a:extLst>
                <a:ext uri="{FF2B5EF4-FFF2-40B4-BE49-F238E27FC236}">
                  <a16:creationId xmlns:a16="http://schemas.microsoft.com/office/drawing/2014/main" id="{C9F2DA3C-3B42-104C-ACB4-6367477A235E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289608784"/>
                </p:ext>
              </p:extLst>
            </p:nvPr>
          </p:nvGraphicFramePr>
          <p:xfrm>
            <a:off x="839659" y="1516656"/>
            <a:ext cx="6925687" cy="457586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61" name="Скругленный прямоугольник 60">
              <a:extLst>
                <a:ext uri="{FF2B5EF4-FFF2-40B4-BE49-F238E27FC236}">
                  <a16:creationId xmlns:a16="http://schemas.microsoft.com/office/drawing/2014/main" id="{C5657C90-8610-4B46-BB99-FAD63E89A797}"/>
                </a:ext>
              </a:extLst>
            </p:cNvPr>
            <p:cNvSpPr/>
            <p:nvPr/>
          </p:nvSpPr>
          <p:spPr>
            <a:xfrm>
              <a:off x="821508" y="1341438"/>
              <a:ext cx="6946389" cy="4859337"/>
            </a:xfrm>
            <a:prstGeom prst="roundRect">
              <a:avLst>
                <a:gd name="adj" fmla="val 3436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9DE561D5-ADA4-7C47-BB81-F8836D828BDE}"/>
                </a:ext>
              </a:extLst>
            </p:cNvPr>
            <p:cNvCxnSpPr>
              <a:cxnSpLocks/>
            </p:cNvCxnSpPr>
            <p:nvPr/>
          </p:nvCxnSpPr>
          <p:spPr>
            <a:xfrm>
              <a:off x="842210" y="1628518"/>
              <a:ext cx="0" cy="430887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Прямоугольник 73">
              <a:extLst>
                <a:ext uri="{FF2B5EF4-FFF2-40B4-BE49-F238E27FC236}">
                  <a16:creationId xmlns:a16="http://schemas.microsoft.com/office/drawing/2014/main" id="{B62ADADA-14E2-BC4E-8C27-B7E7B2F68554}"/>
                </a:ext>
              </a:extLst>
            </p:cNvPr>
            <p:cNvSpPr/>
            <p:nvPr/>
          </p:nvSpPr>
          <p:spPr>
            <a:xfrm>
              <a:off x="1282951" y="3383186"/>
              <a:ext cx="1046697" cy="646331"/>
            </a:xfrm>
            <a:prstGeom prst="rect">
              <a:avLst/>
            </a:prstGeom>
          </p:spPr>
          <p:txBody>
            <a:bodyPr wrap="none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b="1" dirty="0">
                  <a:solidFill>
                    <a:schemeClr val="bg2"/>
                  </a:solidFill>
                </a:rPr>
                <a:t>Х</a:t>
              </a:r>
              <a:r>
                <a:rPr lang="ru-RU" sz="3600" b="1" dirty="0">
                  <a:solidFill>
                    <a:schemeClr val="bg2"/>
                  </a:solidFill>
                </a:rPr>
                <a:t>6</a:t>
              </a:r>
              <a:r>
                <a:rPr lang="ru-RU" b="1" dirty="0">
                  <a:solidFill>
                    <a:schemeClr val="bg2"/>
                  </a:solidFill>
                </a:rPr>
                <a:t> раз</a:t>
              </a:r>
            </a:p>
          </p:txBody>
        </p:sp>
        <p:sp>
          <p:nvSpPr>
            <p:cNvPr id="58" name="TextBox 1">
              <a:extLst>
                <a:ext uri="{FF2B5EF4-FFF2-40B4-BE49-F238E27FC236}">
                  <a16:creationId xmlns:a16="http://schemas.microsoft.com/office/drawing/2014/main" id="{5CFB9F1D-1A7D-0F4C-8B15-A6A2CFE57AC6}"/>
                </a:ext>
              </a:extLst>
            </p:cNvPr>
            <p:cNvSpPr txBox="1"/>
            <p:nvPr/>
          </p:nvSpPr>
          <p:spPr>
            <a:xfrm>
              <a:off x="1282951" y="2832686"/>
              <a:ext cx="2360944" cy="587557"/>
            </a:xfrm>
            <a:prstGeom prst="rect">
              <a:avLst/>
            </a:prstGeom>
          </p:spPr>
          <p:txBody>
            <a:bodyPr wrap="square" lIns="0" tIns="0" rIns="0" bIns="0" rtlCol="0" anchor="b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600" dirty="0">
                  <a:solidFill>
                    <a:schemeClr val="bg1"/>
                  </a:solidFill>
                </a:rPr>
                <a:t>Увеличение</a:t>
              </a:r>
              <a:br>
                <a:rPr lang="ru-RU" sz="1600" dirty="0">
                  <a:solidFill>
                    <a:schemeClr val="bg1"/>
                  </a:solidFill>
                </a:rPr>
              </a:br>
              <a:r>
                <a:rPr lang="ru-RU" sz="1600" dirty="0">
                  <a:solidFill>
                    <a:schemeClr val="bg1"/>
                  </a:solidFill>
                </a:rPr>
                <a:t>объемов</a:t>
              </a:r>
            </a:p>
          </p:txBody>
        </p:sp>
        <p:cxnSp>
          <p:nvCxnSpPr>
            <p:cNvPr id="48" name="Прямая со стрелкой 47">
              <a:extLst>
                <a:ext uri="{FF2B5EF4-FFF2-40B4-BE49-F238E27FC236}">
                  <a16:creationId xmlns:a16="http://schemas.microsoft.com/office/drawing/2014/main" id="{BB382C0D-0087-134B-8BF2-CFEF8697EF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00200" y="2299776"/>
              <a:ext cx="5357813" cy="2312353"/>
            </a:xfrm>
            <a:prstGeom prst="straightConnector1">
              <a:avLst/>
            </a:prstGeom>
            <a:ln w="12700">
              <a:solidFill>
                <a:schemeClr val="bg2"/>
              </a:solidFill>
              <a:prstDash val="sys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FBE15BCC-7F58-4CEE-8433-37A76FD5F1E0}"/>
              </a:ext>
            </a:extLst>
          </p:cNvPr>
          <p:cNvGrpSpPr/>
          <p:nvPr/>
        </p:nvGrpSpPr>
        <p:grpSpPr>
          <a:xfrm>
            <a:off x="8277578" y="2040002"/>
            <a:ext cx="550305" cy="550305"/>
            <a:chOff x="8431044" y="3743448"/>
            <a:chExt cx="550305" cy="550305"/>
          </a:xfrm>
        </p:grpSpPr>
        <p:sp>
          <p:nvSpPr>
            <p:cNvPr id="70" name="Овал 69">
              <a:extLst>
                <a:ext uri="{FF2B5EF4-FFF2-40B4-BE49-F238E27FC236}">
                  <a16:creationId xmlns:a16="http://schemas.microsoft.com/office/drawing/2014/main" id="{A8130107-3E11-4A0A-A628-108BCD9381A2}"/>
                </a:ext>
              </a:extLst>
            </p:cNvPr>
            <p:cNvSpPr/>
            <p:nvPr/>
          </p:nvSpPr>
          <p:spPr>
            <a:xfrm>
              <a:off x="8431044" y="374344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id="{8D1631FC-C554-42F8-8D96-D375DA1B6AF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8511164" y="3849517"/>
              <a:ext cx="360000" cy="360000"/>
            </a:xfrm>
            <a:prstGeom prst="rect">
              <a:avLst/>
            </a:prstGeom>
          </p:spPr>
        </p:pic>
      </p:grpSp>
      <p:sp>
        <p:nvSpPr>
          <p:cNvPr id="41" name="Прямоугольник 15">
            <a:extLst>
              <a:ext uri="{FF2B5EF4-FFF2-40B4-BE49-F238E27FC236}">
                <a16:creationId xmlns:a16="http://schemas.microsoft.com/office/drawing/2014/main" id="{7EE692B5-DB73-C045-BCC4-29BA6C43AF36}"/>
              </a:ext>
            </a:extLst>
          </p:cNvPr>
          <p:cNvSpPr/>
          <p:nvPr/>
        </p:nvSpPr>
        <p:spPr>
          <a:xfrm>
            <a:off x="9041866" y="1839136"/>
            <a:ext cx="2423759" cy="959681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/>
          <a:p>
            <a:r>
              <a:rPr lang="ru-RU" sz="1200" dirty="0"/>
              <a:t>За прошедшие 4 года по востребованным профессиям производства сроки закрытия вакансий увеличились в среднем в 6 раз  </a:t>
            </a:r>
          </a:p>
        </p:txBody>
      </p:sp>
      <p:sp>
        <p:nvSpPr>
          <p:cNvPr id="42" name="Прямоугольник 15">
            <a:extLst>
              <a:ext uri="{FF2B5EF4-FFF2-40B4-BE49-F238E27FC236}">
                <a16:creationId xmlns:a16="http://schemas.microsoft.com/office/drawing/2014/main" id="{7EE692B5-DB73-C045-BCC4-29BA6C43AF36}"/>
              </a:ext>
            </a:extLst>
          </p:cNvPr>
          <p:cNvSpPr/>
          <p:nvPr/>
        </p:nvSpPr>
        <p:spPr>
          <a:xfrm>
            <a:off x="9063864" y="4688108"/>
            <a:ext cx="2217999" cy="405683"/>
          </a:xfrm>
          <a:prstGeom prst="rect">
            <a:avLst/>
          </a:prstGeom>
        </p:spPr>
        <p:txBody>
          <a:bodyPr wrap="square" lIns="0" tIns="0" rIns="0" bIns="36000" anchor="ctr">
            <a:spAutoFit/>
          </a:bodyPr>
          <a:lstStyle/>
          <a:p>
            <a:r>
              <a:rPr lang="ru-RU" sz="1200" dirty="0"/>
              <a:t> ремонтного персонала (сварщики)  в 7 раз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257257" y="5463933"/>
            <a:ext cx="560881" cy="56697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24061" y="3738161"/>
            <a:ext cx="560881" cy="56088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77578" y="4618429"/>
            <a:ext cx="560881" cy="560881"/>
          </a:xfrm>
          <a:prstGeom prst="rect">
            <a:avLst/>
          </a:prstGeom>
        </p:spPr>
      </p:pic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CCC7711B-B18E-4236-B64C-C3C518B6485C}"/>
              </a:ext>
            </a:extLst>
          </p:cNvPr>
          <p:cNvGrpSpPr/>
          <p:nvPr/>
        </p:nvGrpSpPr>
        <p:grpSpPr>
          <a:xfrm>
            <a:off x="8288154" y="2869938"/>
            <a:ext cx="550305" cy="550305"/>
            <a:chOff x="9017838" y="5016400"/>
            <a:chExt cx="550305" cy="550305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B4D66DBA-FDD3-4285-8C1C-AE57FD6DDE43}"/>
                </a:ext>
              </a:extLst>
            </p:cNvPr>
            <p:cNvSpPr/>
            <p:nvPr/>
          </p:nvSpPr>
          <p:spPr>
            <a:xfrm>
              <a:off x="9017838" y="5016400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50" name="Рисунок 93">
              <a:extLst>
                <a:ext uri="{FF2B5EF4-FFF2-40B4-BE49-F238E27FC236}">
                  <a16:creationId xmlns:a16="http://schemas.microsoft.com/office/drawing/2014/main" id="{E2CBA62D-73EC-43C3-8C14-EBFFC17C475D}"/>
                </a:ext>
              </a:extLst>
            </p:cNvPr>
            <p:cNvGrpSpPr/>
            <p:nvPr/>
          </p:nvGrpSpPr>
          <p:grpSpPr>
            <a:xfrm>
              <a:off x="9120502" y="5170774"/>
              <a:ext cx="346420" cy="243723"/>
              <a:chOff x="9120502" y="5170774"/>
              <a:chExt cx="346420" cy="243724"/>
            </a:xfrm>
            <a:solidFill>
              <a:srgbClr val="231F20"/>
            </a:solidFill>
          </p:grpSpPr>
          <p:sp>
            <p:nvSpPr>
              <p:cNvPr id="51" name="Рисунок 93">
                <a:extLst>
                  <a:ext uri="{FF2B5EF4-FFF2-40B4-BE49-F238E27FC236}">
                    <a16:creationId xmlns:a16="http://schemas.microsoft.com/office/drawing/2014/main" id="{8F09C4DD-803A-4512-B844-EB3F12D569C5}"/>
                  </a:ext>
                </a:extLst>
              </p:cNvPr>
              <p:cNvSpPr/>
              <p:nvPr/>
            </p:nvSpPr>
            <p:spPr>
              <a:xfrm>
                <a:off x="9227177" y="5170774"/>
                <a:ext cx="133433" cy="142111"/>
              </a:xfrm>
              <a:custGeom>
                <a:avLst/>
                <a:gdLst>
                  <a:gd name="connsiteX0" fmla="*/ 10487 w 133433"/>
                  <a:gd name="connsiteY0" fmla="*/ 91125 h 142111"/>
                  <a:gd name="connsiteX1" fmla="*/ 10848 w 133433"/>
                  <a:gd name="connsiteY1" fmla="*/ 91125 h 142111"/>
                  <a:gd name="connsiteX2" fmla="*/ 66536 w 133433"/>
                  <a:gd name="connsiteY2" fmla="*/ 142112 h 142111"/>
                  <a:gd name="connsiteX3" fmla="*/ 122224 w 133433"/>
                  <a:gd name="connsiteY3" fmla="*/ 91125 h 142111"/>
                  <a:gd name="connsiteX4" fmla="*/ 122585 w 133433"/>
                  <a:gd name="connsiteY4" fmla="*/ 91125 h 142111"/>
                  <a:gd name="connsiteX5" fmla="*/ 133433 w 133433"/>
                  <a:gd name="connsiteY5" fmla="*/ 77384 h 142111"/>
                  <a:gd name="connsiteX6" fmla="*/ 127286 w 133433"/>
                  <a:gd name="connsiteY6" fmla="*/ 65089 h 142111"/>
                  <a:gd name="connsiteX7" fmla="*/ 83531 w 133433"/>
                  <a:gd name="connsiteY7" fmla="*/ 11210 h 142111"/>
                  <a:gd name="connsiteX8" fmla="*/ 66536 w 133433"/>
                  <a:gd name="connsiteY8" fmla="*/ 0 h 142111"/>
                  <a:gd name="connsiteX9" fmla="*/ 49540 w 133433"/>
                  <a:gd name="connsiteY9" fmla="*/ 11210 h 142111"/>
                  <a:gd name="connsiteX10" fmla="*/ 6147 w 133433"/>
                  <a:gd name="connsiteY10" fmla="*/ 65089 h 142111"/>
                  <a:gd name="connsiteX11" fmla="*/ 0 w 133433"/>
                  <a:gd name="connsiteY11" fmla="*/ 77384 h 142111"/>
                  <a:gd name="connsiteX12" fmla="*/ 3254 w 133433"/>
                  <a:gd name="connsiteY12" fmla="*/ 86786 h 142111"/>
                  <a:gd name="connsiteX13" fmla="*/ 10487 w 133433"/>
                  <a:gd name="connsiteY13" fmla="*/ 91125 h 142111"/>
                  <a:gd name="connsiteX14" fmla="*/ 14826 w 133433"/>
                  <a:gd name="connsiteY14" fmla="*/ 64728 h 142111"/>
                  <a:gd name="connsiteX15" fmla="*/ 46647 w 133433"/>
                  <a:gd name="connsiteY15" fmla="*/ 22420 h 142111"/>
                  <a:gd name="connsiteX16" fmla="*/ 46647 w 133433"/>
                  <a:gd name="connsiteY16" fmla="*/ 64728 h 142111"/>
                  <a:gd name="connsiteX17" fmla="*/ 14826 w 133433"/>
                  <a:gd name="connsiteY17" fmla="*/ 64728 h 142111"/>
                  <a:gd name="connsiteX18" fmla="*/ 56772 w 133433"/>
                  <a:gd name="connsiteY18" fmla="*/ 64728 h 142111"/>
                  <a:gd name="connsiteX19" fmla="*/ 56772 w 133433"/>
                  <a:gd name="connsiteY19" fmla="*/ 18442 h 142111"/>
                  <a:gd name="connsiteX20" fmla="*/ 60389 w 133433"/>
                  <a:gd name="connsiteY20" fmla="*/ 11571 h 142111"/>
                  <a:gd name="connsiteX21" fmla="*/ 68344 w 133433"/>
                  <a:gd name="connsiteY21" fmla="*/ 10487 h 142111"/>
                  <a:gd name="connsiteX22" fmla="*/ 74130 w 133433"/>
                  <a:gd name="connsiteY22" fmla="*/ 18804 h 142111"/>
                  <a:gd name="connsiteX23" fmla="*/ 74130 w 133433"/>
                  <a:gd name="connsiteY23" fmla="*/ 64728 h 142111"/>
                  <a:gd name="connsiteX24" fmla="*/ 56772 w 133433"/>
                  <a:gd name="connsiteY24" fmla="*/ 64728 h 142111"/>
                  <a:gd name="connsiteX25" fmla="*/ 84255 w 133433"/>
                  <a:gd name="connsiteY25" fmla="*/ 64728 h 142111"/>
                  <a:gd name="connsiteX26" fmla="*/ 84255 w 133433"/>
                  <a:gd name="connsiteY26" fmla="*/ 22058 h 142111"/>
                  <a:gd name="connsiteX27" fmla="*/ 116438 w 133433"/>
                  <a:gd name="connsiteY27" fmla="*/ 64366 h 142111"/>
                  <a:gd name="connsiteX28" fmla="*/ 84255 w 133433"/>
                  <a:gd name="connsiteY28" fmla="*/ 64366 h 142111"/>
                  <a:gd name="connsiteX29" fmla="*/ 112098 w 133433"/>
                  <a:gd name="connsiteY29" fmla="*/ 91125 h 142111"/>
                  <a:gd name="connsiteX30" fmla="*/ 66536 w 133433"/>
                  <a:gd name="connsiteY30" fmla="*/ 132349 h 142111"/>
                  <a:gd name="connsiteX31" fmla="*/ 20973 w 133433"/>
                  <a:gd name="connsiteY31" fmla="*/ 91125 h 142111"/>
                  <a:gd name="connsiteX32" fmla="*/ 112098 w 133433"/>
                  <a:gd name="connsiteY32" fmla="*/ 91125 h 142111"/>
                  <a:gd name="connsiteX33" fmla="*/ 9402 w 133433"/>
                  <a:gd name="connsiteY33" fmla="*/ 77384 h 142111"/>
                  <a:gd name="connsiteX34" fmla="*/ 10125 w 133433"/>
                  <a:gd name="connsiteY34" fmla="*/ 74491 h 142111"/>
                  <a:gd name="connsiteX35" fmla="*/ 10487 w 133433"/>
                  <a:gd name="connsiteY35" fmla="*/ 74491 h 142111"/>
                  <a:gd name="connsiteX36" fmla="*/ 122585 w 133433"/>
                  <a:gd name="connsiteY36" fmla="*/ 74491 h 142111"/>
                  <a:gd name="connsiteX37" fmla="*/ 122947 w 133433"/>
                  <a:gd name="connsiteY37" fmla="*/ 74491 h 142111"/>
                  <a:gd name="connsiteX38" fmla="*/ 123670 w 133433"/>
                  <a:gd name="connsiteY38" fmla="*/ 77384 h 142111"/>
                  <a:gd name="connsiteX39" fmla="*/ 122585 w 133433"/>
                  <a:gd name="connsiteY39" fmla="*/ 81000 h 142111"/>
                  <a:gd name="connsiteX40" fmla="*/ 10487 w 133433"/>
                  <a:gd name="connsiteY40" fmla="*/ 81000 h 142111"/>
                  <a:gd name="connsiteX41" fmla="*/ 9402 w 133433"/>
                  <a:gd name="connsiteY41" fmla="*/ 77384 h 142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33433" h="142111">
                    <a:moveTo>
                      <a:pt x="10487" y="91125"/>
                    </a:moveTo>
                    <a:lnTo>
                      <a:pt x="10848" y="91125"/>
                    </a:lnTo>
                    <a:cubicBezTo>
                      <a:pt x="13379" y="119692"/>
                      <a:pt x="37607" y="142112"/>
                      <a:pt x="66536" y="142112"/>
                    </a:cubicBezTo>
                    <a:cubicBezTo>
                      <a:pt x="95465" y="142112"/>
                      <a:pt x="119692" y="119692"/>
                      <a:pt x="122224" y="91125"/>
                    </a:cubicBezTo>
                    <a:lnTo>
                      <a:pt x="122585" y="91125"/>
                    </a:lnTo>
                    <a:cubicBezTo>
                      <a:pt x="128732" y="91125"/>
                      <a:pt x="133433" y="84978"/>
                      <a:pt x="133433" y="77384"/>
                    </a:cubicBezTo>
                    <a:cubicBezTo>
                      <a:pt x="133433" y="71960"/>
                      <a:pt x="130902" y="67259"/>
                      <a:pt x="127286" y="65089"/>
                    </a:cubicBezTo>
                    <a:cubicBezTo>
                      <a:pt x="125478" y="39777"/>
                      <a:pt x="107759" y="18080"/>
                      <a:pt x="83531" y="11210"/>
                    </a:cubicBezTo>
                    <a:cubicBezTo>
                      <a:pt x="80639" y="4339"/>
                      <a:pt x="73768" y="0"/>
                      <a:pt x="66536" y="0"/>
                    </a:cubicBezTo>
                    <a:cubicBezTo>
                      <a:pt x="58942" y="0"/>
                      <a:pt x="52433" y="4339"/>
                      <a:pt x="49540" y="11210"/>
                    </a:cubicBezTo>
                    <a:cubicBezTo>
                      <a:pt x="25313" y="18442"/>
                      <a:pt x="7955" y="39777"/>
                      <a:pt x="6147" y="65089"/>
                    </a:cubicBezTo>
                    <a:cubicBezTo>
                      <a:pt x="2531" y="67259"/>
                      <a:pt x="0" y="71960"/>
                      <a:pt x="0" y="77384"/>
                    </a:cubicBezTo>
                    <a:cubicBezTo>
                      <a:pt x="0" y="81000"/>
                      <a:pt x="1085" y="84255"/>
                      <a:pt x="3254" y="86786"/>
                    </a:cubicBezTo>
                    <a:cubicBezTo>
                      <a:pt x="4701" y="89679"/>
                      <a:pt x="7594" y="91125"/>
                      <a:pt x="10487" y="91125"/>
                    </a:cubicBezTo>
                    <a:close/>
                    <a:moveTo>
                      <a:pt x="14826" y="64728"/>
                    </a:moveTo>
                    <a:cubicBezTo>
                      <a:pt x="16634" y="45924"/>
                      <a:pt x="28929" y="29290"/>
                      <a:pt x="46647" y="22420"/>
                    </a:cubicBezTo>
                    <a:lnTo>
                      <a:pt x="46647" y="64728"/>
                    </a:lnTo>
                    <a:lnTo>
                      <a:pt x="14826" y="64728"/>
                    </a:lnTo>
                    <a:close/>
                    <a:moveTo>
                      <a:pt x="56772" y="64728"/>
                    </a:moveTo>
                    <a:lnTo>
                      <a:pt x="56772" y="18442"/>
                    </a:lnTo>
                    <a:cubicBezTo>
                      <a:pt x="56772" y="15549"/>
                      <a:pt x="58219" y="13018"/>
                      <a:pt x="60389" y="11571"/>
                    </a:cubicBezTo>
                    <a:cubicBezTo>
                      <a:pt x="62558" y="9763"/>
                      <a:pt x="65451" y="9402"/>
                      <a:pt x="68344" y="10487"/>
                    </a:cubicBezTo>
                    <a:cubicBezTo>
                      <a:pt x="71598" y="11571"/>
                      <a:pt x="74130" y="15188"/>
                      <a:pt x="74130" y="18804"/>
                    </a:cubicBezTo>
                    <a:lnTo>
                      <a:pt x="74130" y="64728"/>
                    </a:lnTo>
                    <a:lnTo>
                      <a:pt x="56772" y="64728"/>
                    </a:lnTo>
                    <a:close/>
                    <a:moveTo>
                      <a:pt x="84255" y="64728"/>
                    </a:moveTo>
                    <a:lnTo>
                      <a:pt x="84255" y="22058"/>
                    </a:lnTo>
                    <a:cubicBezTo>
                      <a:pt x="101973" y="28929"/>
                      <a:pt x="114630" y="45563"/>
                      <a:pt x="116438" y="64366"/>
                    </a:cubicBezTo>
                    <a:lnTo>
                      <a:pt x="84255" y="64366"/>
                    </a:lnTo>
                    <a:close/>
                    <a:moveTo>
                      <a:pt x="112098" y="91125"/>
                    </a:moveTo>
                    <a:cubicBezTo>
                      <a:pt x="109567" y="114268"/>
                      <a:pt x="89679" y="132349"/>
                      <a:pt x="66536" y="132349"/>
                    </a:cubicBezTo>
                    <a:cubicBezTo>
                      <a:pt x="43393" y="132349"/>
                      <a:pt x="23505" y="114268"/>
                      <a:pt x="20973" y="91125"/>
                    </a:cubicBezTo>
                    <a:lnTo>
                      <a:pt x="112098" y="91125"/>
                    </a:lnTo>
                    <a:close/>
                    <a:moveTo>
                      <a:pt x="9402" y="77384"/>
                    </a:moveTo>
                    <a:cubicBezTo>
                      <a:pt x="9402" y="75938"/>
                      <a:pt x="9763" y="75214"/>
                      <a:pt x="10125" y="74491"/>
                    </a:cubicBezTo>
                    <a:cubicBezTo>
                      <a:pt x="10125" y="74491"/>
                      <a:pt x="10487" y="74491"/>
                      <a:pt x="10487" y="74491"/>
                    </a:cubicBezTo>
                    <a:lnTo>
                      <a:pt x="122585" y="74491"/>
                    </a:lnTo>
                    <a:cubicBezTo>
                      <a:pt x="122585" y="74491"/>
                      <a:pt x="122947" y="74491"/>
                      <a:pt x="122947" y="74491"/>
                    </a:cubicBezTo>
                    <a:cubicBezTo>
                      <a:pt x="123308" y="75214"/>
                      <a:pt x="123670" y="75938"/>
                      <a:pt x="123670" y="77384"/>
                    </a:cubicBezTo>
                    <a:cubicBezTo>
                      <a:pt x="123670" y="79554"/>
                      <a:pt x="122947" y="80639"/>
                      <a:pt x="122585" y="81000"/>
                    </a:cubicBezTo>
                    <a:lnTo>
                      <a:pt x="10487" y="81000"/>
                    </a:lnTo>
                    <a:cubicBezTo>
                      <a:pt x="10487" y="80639"/>
                      <a:pt x="9402" y="79554"/>
                      <a:pt x="9402" y="77384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Рисунок 93">
                <a:extLst>
                  <a:ext uri="{FF2B5EF4-FFF2-40B4-BE49-F238E27FC236}">
                    <a16:creationId xmlns:a16="http://schemas.microsoft.com/office/drawing/2014/main" id="{1CBC6561-F2A8-4E6D-94A1-8CE18C68B3A3}"/>
                  </a:ext>
                </a:extLst>
              </p:cNvPr>
              <p:cNvSpPr/>
              <p:nvPr/>
            </p:nvSpPr>
            <p:spPr>
              <a:xfrm>
                <a:off x="9144369" y="5264793"/>
                <a:ext cx="77384" cy="77384"/>
              </a:xfrm>
              <a:custGeom>
                <a:avLst/>
                <a:gdLst>
                  <a:gd name="connsiteX0" fmla="*/ 38692 w 77384"/>
                  <a:gd name="connsiteY0" fmla="*/ 77384 h 77384"/>
                  <a:gd name="connsiteX1" fmla="*/ 77384 w 77384"/>
                  <a:gd name="connsiteY1" fmla="*/ 38692 h 77384"/>
                  <a:gd name="connsiteX2" fmla="*/ 38692 w 77384"/>
                  <a:gd name="connsiteY2" fmla="*/ 0 h 77384"/>
                  <a:gd name="connsiteX3" fmla="*/ 0 w 77384"/>
                  <a:gd name="connsiteY3" fmla="*/ 38692 h 77384"/>
                  <a:gd name="connsiteX4" fmla="*/ 38692 w 77384"/>
                  <a:gd name="connsiteY4" fmla="*/ 77384 h 77384"/>
                  <a:gd name="connsiteX5" fmla="*/ 38692 w 77384"/>
                  <a:gd name="connsiteY5" fmla="*/ 11210 h 77384"/>
                  <a:gd name="connsiteX6" fmla="*/ 66536 w 77384"/>
                  <a:gd name="connsiteY6" fmla="*/ 39054 h 77384"/>
                  <a:gd name="connsiteX7" fmla="*/ 38692 w 77384"/>
                  <a:gd name="connsiteY7" fmla="*/ 66536 h 77384"/>
                  <a:gd name="connsiteX8" fmla="*/ 10848 w 77384"/>
                  <a:gd name="connsiteY8" fmla="*/ 38692 h 77384"/>
                  <a:gd name="connsiteX9" fmla="*/ 38692 w 77384"/>
                  <a:gd name="connsiteY9" fmla="*/ 11210 h 773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384">
                    <a:moveTo>
                      <a:pt x="38692" y="77384"/>
                    </a:moveTo>
                    <a:cubicBezTo>
                      <a:pt x="60027" y="77384"/>
                      <a:pt x="77384" y="60027"/>
                      <a:pt x="77384" y="38692"/>
                    </a:cubicBezTo>
                    <a:cubicBezTo>
                      <a:pt x="77384" y="17357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384"/>
                      <a:pt x="38692" y="77384"/>
                    </a:cubicBezTo>
                    <a:close/>
                    <a:moveTo>
                      <a:pt x="38692" y="11210"/>
                    </a:moveTo>
                    <a:cubicBezTo>
                      <a:pt x="54241" y="11210"/>
                      <a:pt x="66536" y="23866"/>
                      <a:pt x="66536" y="39054"/>
                    </a:cubicBezTo>
                    <a:cubicBezTo>
                      <a:pt x="66536" y="54241"/>
                      <a:pt x="54241" y="66536"/>
                      <a:pt x="38692" y="66536"/>
                    </a:cubicBezTo>
                    <a:cubicBezTo>
                      <a:pt x="23143" y="66536"/>
                      <a:pt x="10848" y="53880"/>
                      <a:pt x="10848" y="38692"/>
                    </a:cubicBezTo>
                    <a:cubicBezTo>
                      <a:pt x="10848" y="23505"/>
                      <a:pt x="23143" y="11210"/>
                      <a:pt x="38692" y="1121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Рисунок 93">
                <a:extLst>
                  <a:ext uri="{FF2B5EF4-FFF2-40B4-BE49-F238E27FC236}">
                    <a16:creationId xmlns:a16="http://schemas.microsoft.com/office/drawing/2014/main" id="{157E3C0F-EF00-4617-B8C6-DED0AD7E8892}"/>
                  </a:ext>
                </a:extLst>
              </p:cNvPr>
              <p:cNvSpPr/>
              <p:nvPr/>
            </p:nvSpPr>
            <p:spPr>
              <a:xfrm>
                <a:off x="9366396" y="5265154"/>
                <a:ext cx="77384" cy="77022"/>
              </a:xfrm>
              <a:custGeom>
                <a:avLst/>
                <a:gdLst>
                  <a:gd name="connsiteX0" fmla="*/ 38692 w 77384"/>
                  <a:gd name="connsiteY0" fmla="*/ 77023 h 77022"/>
                  <a:gd name="connsiteX1" fmla="*/ 77384 w 77384"/>
                  <a:gd name="connsiteY1" fmla="*/ 38330 h 77022"/>
                  <a:gd name="connsiteX2" fmla="*/ 38692 w 77384"/>
                  <a:gd name="connsiteY2" fmla="*/ 0 h 77022"/>
                  <a:gd name="connsiteX3" fmla="*/ 0 w 77384"/>
                  <a:gd name="connsiteY3" fmla="*/ 38692 h 77022"/>
                  <a:gd name="connsiteX4" fmla="*/ 38692 w 77384"/>
                  <a:gd name="connsiteY4" fmla="*/ 77023 h 77022"/>
                  <a:gd name="connsiteX5" fmla="*/ 38692 w 77384"/>
                  <a:gd name="connsiteY5" fmla="*/ 10848 h 77022"/>
                  <a:gd name="connsiteX6" fmla="*/ 66536 w 77384"/>
                  <a:gd name="connsiteY6" fmla="*/ 38692 h 77022"/>
                  <a:gd name="connsiteX7" fmla="*/ 38692 w 77384"/>
                  <a:gd name="connsiteY7" fmla="*/ 66174 h 77022"/>
                  <a:gd name="connsiteX8" fmla="*/ 10848 w 77384"/>
                  <a:gd name="connsiteY8" fmla="*/ 38330 h 77022"/>
                  <a:gd name="connsiteX9" fmla="*/ 38692 w 77384"/>
                  <a:gd name="connsiteY9" fmla="*/ 10848 h 77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7384" h="77022">
                    <a:moveTo>
                      <a:pt x="38692" y="77023"/>
                    </a:moveTo>
                    <a:cubicBezTo>
                      <a:pt x="60027" y="77023"/>
                      <a:pt x="77384" y="59665"/>
                      <a:pt x="77384" y="38330"/>
                    </a:cubicBezTo>
                    <a:cubicBezTo>
                      <a:pt x="77384" y="16996"/>
                      <a:pt x="60027" y="0"/>
                      <a:pt x="38692" y="0"/>
                    </a:cubicBezTo>
                    <a:cubicBezTo>
                      <a:pt x="17357" y="0"/>
                      <a:pt x="0" y="17357"/>
                      <a:pt x="0" y="38692"/>
                    </a:cubicBezTo>
                    <a:cubicBezTo>
                      <a:pt x="0" y="60027"/>
                      <a:pt x="17357" y="77023"/>
                      <a:pt x="38692" y="77023"/>
                    </a:cubicBezTo>
                    <a:close/>
                    <a:moveTo>
                      <a:pt x="38692" y="10848"/>
                    </a:moveTo>
                    <a:cubicBezTo>
                      <a:pt x="54241" y="10848"/>
                      <a:pt x="66536" y="23505"/>
                      <a:pt x="66536" y="38692"/>
                    </a:cubicBezTo>
                    <a:cubicBezTo>
                      <a:pt x="66536" y="53880"/>
                      <a:pt x="54241" y="66174"/>
                      <a:pt x="38692" y="66174"/>
                    </a:cubicBezTo>
                    <a:cubicBezTo>
                      <a:pt x="23143" y="66174"/>
                      <a:pt x="10848" y="53518"/>
                      <a:pt x="10848" y="38330"/>
                    </a:cubicBezTo>
                    <a:cubicBezTo>
                      <a:pt x="10848" y="23143"/>
                      <a:pt x="23143" y="10848"/>
                      <a:pt x="38692" y="10848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Рисунок 93">
                <a:extLst>
                  <a:ext uri="{FF2B5EF4-FFF2-40B4-BE49-F238E27FC236}">
                    <a16:creationId xmlns:a16="http://schemas.microsoft.com/office/drawing/2014/main" id="{04E720D0-7F1D-4E24-B82D-E00E38C3C6D1}"/>
                  </a:ext>
                </a:extLst>
              </p:cNvPr>
              <p:cNvSpPr/>
              <p:nvPr/>
            </p:nvSpPr>
            <p:spPr>
              <a:xfrm>
                <a:off x="9120502" y="5319757"/>
                <a:ext cx="346420" cy="94741"/>
              </a:xfrm>
              <a:custGeom>
                <a:avLst/>
                <a:gdLst>
                  <a:gd name="connsiteX0" fmla="*/ 328340 w 346420"/>
                  <a:gd name="connsiteY0" fmla="*/ 41585 h 94741"/>
                  <a:gd name="connsiteX1" fmla="*/ 284224 w 346420"/>
                  <a:gd name="connsiteY1" fmla="*/ 23143 h 94741"/>
                  <a:gd name="connsiteX2" fmla="*/ 244085 w 346420"/>
                  <a:gd name="connsiteY2" fmla="*/ 37969 h 94741"/>
                  <a:gd name="connsiteX3" fmla="*/ 173572 w 346420"/>
                  <a:gd name="connsiteY3" fmla="*/ 0 h 94741"/>
                  <a:gd name="connsiteX4" fmla="*/ 102697 w 346420"/>
                  <a:gd name="connsiteY4" fmla="*/ 38330 h 94741"/>
                  <a:gd name="connsiteX5" fmla="*/ 62197 w 346420"/>
                  <a:gd name="connsiteY5" fmla="*/ 23505 h 94741"/>
                  <a:gd name="connsiteX6" fmla="*/ 0 w 346420"/>
                  <a:gd name="connsiteY6" fmla="*/ 85701 h 94741"/>
                  <a:gd name="connsiteX7" fmla="*/ 0 w 346420"/>
                  <a:gd name="connsiteY7" fmla="*/ 94741 h 94741"/>
                  <a:gd name="connsiteX8" fmla="*/ 90040 w 346420"/>
                  <a:gd name="connsiteY8" fmla="*/ 94741 h 94741"/>
                  <a:gd name="connsiteX9" fmla="*/ 99804 w 346420"/>
                  <a:gd name="connsiteY9" fmla="*/ 94741 h 94741"/>
                  <a:gd name="connsiteX10" fmla="*/ 245532 w 346420"/>
                  <a:gd name="connsiteY10" fmla="*/ 94741 h 94741"/>
                  <a:gd name="connsiteX11" fmla="*/ 257827 w 346420"/>
                  <a:gd name="connsiteY11" fmla="*/ 94741 h 94741"/>
                  <a:gd name="connsiteX12" fmla="*/ 346420 w 346420"/>
                  <a:gd name="connsiteY12" fmla="*/ 94741 h 94741"/>
                  <a:gd name="connsiteX13" fmla="*/ 346420 w 346420"/>
                  <a:gd name="connsiteY13" fmla="*/ 85701 h 94741"/>
                  <a:gd name="connsiteX14" fmla="*/ 328340 w 346420"/>
                  <a:gd name="connsiteY14" fmla="*/ 41585 h 94741"/>
                  <a:gd name="connsiteX15" fmla="*/ 10848 w 346420"/>
                  <a:gd name="connsiteY15" fmla="*/ 83531 h 94741"/>
                  <a:gd name="connsiteX16" fmla="*/ 62197 w 346420"/>
                  <a:gd name="connsiteY16" fmla="*/ 33991 h 94741"/>
                  <a:gd name="connsiteX17" fmla="*/ 97273 w 346420"/>
                  <a:gd name="connsiteY17" fmla="*/ 47371 h 94741"/>
                  <a:gd name="connsiteX18" fmla="*/ 88956 w 346420"/>
                  <a:gd name="connsiteY18" fmla="*/ 83531 h 94741"/>
                  <a:gd name="connsiteX19" fmla="*/ 10848 w 346420"/>
                  <a:gd name="connsiteY19" fmla="*/ 83531 h 94741"/>
                  <a:gd name="connsiteX20" fmla="*/ 99804 w 346420"/>
                  <a:gd name="connsiteY20" fmla="*/ 83531 h 94741"/>
                  <a:gd name="connsiteX21" fmla="*/ 173572 w 346420"/>
                  <a:gd name="connsiteY21" fmla="*/ 10848 h 94741"/>
                  <a:gd name="connsiteX22" fmla="*/ 237215 w 346420"/>
                  <a:gd name="connsiteY22" fmla="*/ 47371 h 94741"/>
                  <a:gd name="connsiteX23" fmla="*/ 238300 w 346420"/>
                  <a:gd name="connsiteY23" fmla="*/ 49179 h 94741"/>
                  <a:gd name="connsiteX24" fmla="*/ 246978 w 346420"/>
                  <a:gd name="connsiteY24" fmla="*/ 83531 h 94741"/>
                  <a:gd name="connsiteX25" fmla="*/ 99804 w 346420"/>
                  <a:gd name="connsiteY25" fmla="*/ 83531 h 94741"/>
                  <a:gd name="connsiteX26" fmla="*/ 258188 w 346420"/>
                  <a:gd name="connsiteY26" fmla="*/ 83531 h 94741"/>
                  <a:gd name="connsiteX27" fmla="*/ 249871 w 346420"/>
                  <a:gd name="connsiteY27" fmla="*/ 47371 h 94741"/>
                  <a:gd name="connsiteX28" fmla="*/ 284586 w 346420"/>
                  <a:gd name="connsiteY28" fmla="*/ 33991 h 94741"/>
                  <a:gd name="connsiteX29" fmla="*/ 320746 w 346420"/>
                  <a:gd name="connsiteY29" fmla="*/ 49179 h 94741"/>
                  <a:gd name="connsiteX30" fmla="*/ 335572 w 346420"/>
                  <a:gd name="connsiteY30" fmla="*/ 83531 h 94741"/>
                  <a:gd name="connsiteX31" fmla="*/ 258188 w 346420"/>
                  <a:gd name="connsiteY31" fmla="*/ 83531 h 94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46420" h="94741">
                    <a:moveTo>
                      <a:pt x="328340" y="41585"/>
                    </a:moveTo>
                    <a:cubicBezTo>
                      <a:pt x="316769" y="29652"/>
                      <a:pt x="300858" y="23143"/>
                      <a:pt x="284224" y="23143"/>
                    </a:cubicBezTo>
                    <a:cubicBezTo>
                      <a:pt x="269398" y="23143"/>
                      <a:pt x="255295" y="28205"/>
                      <a:pt x="244085" y="37969"/>
                    </a:cubicBezTo>
                    <a:cubicBezTo>
                      <a:pt x="228898" y="15188"/>
                      <a:pt x="202862" y="0"/>
                      <a:pt x="173572" y="0"/>
                    </a:cubicBezTo>
                    <a:cubicBezTo>
                      <a:pt x="143920" y="0"/>
                      <a:pt x="117884" y="15188"/>
                      <a:pt x="102697" y="38330"/>
                    </a:cubicBezTo>
                    <a:cubicBezTo>
                      <a:pt x="91487" y="28929"/>
                      <a:pt x="77384" y="23505"/>
                      <a:pt x="62197" y="23505"/>
                    </a:cubicBezTo>
                    <a:cubicBezTo>
                      <a:pt x="27844" y="23505"/>
                      <a:pt x="0" y="51348"/>
                      <a:pt x="0" y="85701"/>
                    </a:cubicBezTo>
                    <a:lnTo>
                      <a:pt x="0" y="94741"/>
                    </a:lnTo>
                    <a:lnTo>
                      <a:pt x="90040" y="94741"/>
                    </a:lnTo>
                    <a:lnTo>
                      <a:pt x="99804" y="94741"/>
                    </a:lnTo>
                    <a:lnTo>
                      <a:pt x="245532" y="94741"/>
                    </a:lnTo>
                    <a:lnTo>
                      <a:pt x="257827" y="94741"/>
                    </a:lnTo>
                    <a:lnTo>
                      <a:pt x="346420" y="94741"/>
                    </a:lnTo>
                    <a:lnTo>
                      <a:pt x="346420" y="85701"/>
                    </a:lnTo>
                    <a:cubicBezTo>
                      <a:pt x="346420" y="68706"/>
                      <a:pt x="340273" y="53156"/>
                      <a:pt x="328340" y="41585"/>
                    </a:cubicBezTo>
                    <a:close/>
                    <a:moveTo>
                      <a:pt x="10848" y="83531"/>
                    </a:moveTo>
                    <a:cubicBezTo>
                      <a:pt x="11933" y="56049"/>
                      <a:pt x="34353" y="33991"/>
                      <a:pt x="62197" y="33991"/>
                    </a:cubicBezTo>
                    <a:cubicBezTo>
                      <a:pt x="75214" y="33991"/>
                      <a:pt x="87871" y="38692"/>
                      <a:pt x="97273" y="47371"/>
                    </a:cubicBezTo>
                    <a:cubicBezTo>
                      <a:pt x="92210" y="58581"/>
                      <a:pt x="89317" y="70875"/>
                      <a:pt x="88956" y="83531"/>
                    </a:cubicBezTo>
                    <a:lnTo>
                      <a:pt x="10848" y="83531"/>
                    </a:lnTo>
                    <a:close/>
                    <a:moveTo>
                      <a:pt x="99804" y="83531"/>
                    </a:moveTo>
                    <a:cubicBezTo>
                      <a:pt x="99804" y="43393"/>
                      <a:pt x="133072" y="10848"/>
                      <a:pt x="173572" y="10848"/>
                    </a:cubicBezTo>
                    <a:cubicBezTo>
                      <a:pt x="200692" y="10848"/>
                      <a:pt x="224559" y="25674"/>
                      <a:pt x="237215" y="47371"/>
                    </a:cubicBezTo>
                    <a:lnTo>
                      <a:pt x="238300" y="49179"/>
                    </a:lnTo>
                    <a:cubicBezTo>
                      <a:pt x="244085" y="60027"/>
                      <a:pt x="246978" y="71598"/>
                      <a:pt x="246978" y="83531"/>
                    </a:cubicBezTo>
                    <a:lnTo>
                      <a:pt x="99804" y="83531"/>
                    </a:lnTo>
                    <a:close/>
                    <a:moveTo>
                      <a:pt x="258188" y="83531"/>
                    </a:moveTo>
                    <a:cubicBezTo>
                      <a:pt x="258188" y="70514"/>
                      <a:pt x="255295" y="58581"/>
                      <a:pt x="249871" y="47371"/>
                    </a:cubicBezTo>
                    <a:cubicBezTo>
                      <a:pt x="259273" y="38692"/>
                      <a:pt x="271568" y="33991"/>
                      <a:pt x="284586" y="33991"/>
                    </a:cubicBezTo>
                    <a:cubicBezTo>
                      <a:pt x="298327" y="33991"/>
                      <a:pt x="311345" y="39415"/>
                      <a:pt x="320746" y="49179"/>
                    </a:cubicBezTo>
                    <a:cubicBezTo>
                      <a:pt x="329787" y="58581"/>
                      <a:pt x="335211" y="70514"/>
                      <a:pt x="335572" y="83531"/>
                    </a:cubicBezTo>
                    <a:lnTo>
                      <a:pt x="258188" y="83531"/>
                    </a:ln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314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id="{9861DA33-40DF-F443-A0D6-AF28EA0BEB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id="{9861DA33-40DF-F443-A0D6-AF28EA0BEB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Диаграмма 19">
            <a:extLst>
              <a:ext uri="{FF2B5EF4-FFF2-40B4-BE49-F238E27FC236}">
                <a16:creationId xmlns:a16="http://schemas.microsoft.com/office/drawing/2014/main" id="{78E614E2-EC5E-467B-8CE9-7301382FC6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0328982"/>
              </p:ext>
            </p:extLst>
          </p:nvPr>
        </p:nvGraphicFramePr>
        <p:xfrm>
          <a:off x="1524000" y="1312095"/>
          <a:ext cx="9749424" cy="3522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16900DD-76C6-0F49-A1E7-424E74850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508" y="235568"/>
            <a:ext cx="9981014" cy="276999"/>
          </a:xfrm>
        </p:spPr>
        <p:txBody>
          <a:bodyPr vert="horz"/>
          <a:lstStyle/>
          <a:p>
            <a:r>
              <a:rPr lang="ru-RU" sz="2000" dirty="0"/>
              <a:t>Анализ текучести кадров филиала ППМ АО «Уралэлектромедь»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BA1B4D7B-A00C-5144-8A47-DD35A0601E9D}"/>
              </a:ext>
            </a:extLst>
          </p:cNvPr>
          <p:cNvGrpSpPr/>
          <p:nvPr/>
        </p:nvGrpSpPr>
        <p:grpSpPr>
          <a:xfrm>
            <a:off x="1185830" y="975361"/>
            <a:ext cx="10727496" cy="3814842"/>
            <a:chOff x="6266731" y="1356783"/>
            <a:chExt cx="5125202" cy="3478107"/>
          </a:xfrm>
        </p:grpSpPr>
        <p:sp>
          <p:nvSpPr>
            <p:cNvPr id="5" name="Скругленный прямоугольник 4">
              <a:extLst>
                <a:ext uri="{FF2B5EF4-FFF2-40B4-BE49-F238E27FC236}">
                  <a16:creationId xmlns:a16="http://schemas.microsoft.com/office/drawing/2014/main" id="{DCD58635-0308-1F4C-9484-0624AF482B01}"/>
                </a:ext>
              </a:extLst>
            </p:cNvPr>
            <p:cNvSpPr/>
            <p:nvPr/>
          </p:nvSpPr>
          <p:spPr>
            <a:xfrm>
              <a:off x="6266731" y="1356783"/>
              <a:ext cx="5125202" cy="3478107"/>
            </a:xfrm>
            <a:prstGeom prst="roundRect">
              <a:avLst>
                <a:gd name="adj" fmla="val 4042"/>
              </a:avLst>
            </a:prstGeom>
            <a:noFill/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84E998DF-10DF-A642-84CC-D0271382F1E0}"/>
                </a:ext>
              </a:extLst>
            </p:cNvPr>
            <p:cNvSpPr/>
            <p:nvPr/>
          </p:nvSpPr>
          <p:spPr>
            <a:xfrm>
              <a:off x="6516900" y="1982232"/>
              <a:ext cx="3305392" cy="161583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t">
              <a:spAutoFit/>
            </a:bodyPr>
            <a:lstStyle/>
            <a:p>
              <a:r>
                <a:rPr lang="ru-RU" altLang="ru-RU" sz="1050" dirty="0"/>
                <a:t>(возраст работников и стаж работы на предприятии)</a:t>
              </a:r>
              <a:endParaRPr lang="ru-RU" sz="1050" dirty="0"/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1D7F63D4-CBF1-0341-9AEB-02DA7BE536DF}"/>
                </a:ext>
              </a:extLst>
            </p:cNvPr>
            <p:cNvCxnSpPr>
              <a:cxnSpLocks/>
            </p:cNvCxnSpPr>
            <p:nvPr/>
          </p:nvCxnSpPr>
          <p:spPr>
            <a:xfrm>
              <a:off x="6285048" y="1604823"/>
              <a:ext cx="0" cy="430887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26AFF4A1-0248-454B-8565-37D720FB0773}"/>
              </a:ext>
            </a:extLst>
          </p:cNvPr>
          <p:cNvGrpSpPr/>
          <p:nvPr/>
        </p:nvGrpSpPr>
        <p:grpSpPr>
          <a:xfrm>
            <a:off x="1428207" y="5137546"/>
            <a:ext cx="9053294" cy="1097725"/>
            <a:chOff x="6097155" y="5102507"/>
            <a:chExt cx="5123488" cy="1097725"/>
          </a:xfrm>
          <a:solidFill>
            <a:srgbClr val="F2F2F2"/>
          </a:solidFill>
        </p:grpSpPr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6FF82650-C455-BD48-938B-38F8C9766A82}"/>
                </a:ext>
              </a:extLst>
            </p:cNvPr>
            <p:cNvCxnSpPr/>
            <p:nvPr/>
          </p:nvCxnSpPr>
          <p:spPr>
            <a:xfrm>
              <a:off x="6097155" y="5102507"/>
              <a:ext cx="0" cy="1097725"/>
            </a:xfrm>
            <a:prstGeom prst="line">
              <a:avLst/>
            </a:prstGeom>
            <a:grpFill/>
            <a:ln w="9525">
              <a:solidFill>
                <a:srgbClr val="FAF8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145E2495-873C-FC4C-A778-912D14A4755A}"/>
                </a:ext>
              </a:extLst>
            </p:cNvPr>
            <p:cNvCxnSpPr/>
            <p:nvPr/>
          </p:nvCxnSpPr>
          <p:spPr>
            <a:xfrm>
              <a:off x="8738755" y="5102507"/>
              <a:ext cx="0" cy="1097725"/>
            </a:xfrm>
            <a:prstGeom prst="line">
              <a:avLst/>
            </a:prstGeom>
            <a:grpFill/>
            <a:ln w="9525">
              <a:solidFill>
                <a:srgbClr val="FAF8F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e4pHeader1">
              <a:extLst>
                <a:ext uri="{FF2B5EF4-FFF2-40B4-BE49-F238E27FC236}">
                  <a16:creationId xmlns:a16="http://schemas.microsoft.com/office/drawing/2014/main" id="{57EA2133-4E4F-8143-A4B8-E5DAA137F1E0}"/>
                </a:ext>
              </a:extLst>
            </p:cNvPr>
            <p:cNvSpPr txBox="1"/>
            <p:nvPr/>
          </p:nvSpPr>
          <p:spPr>
            <a:xfrm>
              <a:off x="6183086" y="5393709"/>
              <a:ext cx="2412273" cy="519822"/>
            </a:xfrm>
            <a:prstGeom prst="rect">
              <a:avLst/>
            </a:prstGeom>
            <a:grpFill/>
            <a:ln cap="rnd">
              <a:solidFill>
                <a:srgbClr val="FAF8F6"/>
              </a:solidFill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3" indent="0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 smtClean="0"/>
                <a:t>Молодые работники составляют 30 % от общего кол-ва уволенных</a:t>
              </a:r>
              <a:endParaRPr lang="ru-RU" sz="1200" dirty="0"/>
            </a:p>
          </p:txBody>
        </p:sp>
        <p:sp>
          <p:nvSpPr>
            <p:cNvPr id="26" name="ee4pHeader1">
              <a:extLst>
                <a:ext uri="{FF2B5EF4-FFF2-40B4-BE49-F238E27FC236}">
                  <a16:creationId xmlns:a16="http://schemas.microsoft.com/office/drawing/2014/main" id="{7824E3EC-7E6B-0F44-865F-25D4784A90EB}"/>
                </a:ext>
              </a:extLst>
            </p:cNvPr>
            <p:cNvSpPr txBox="1"/>
            <p:nvPr/>
          </p:nvSpPr>
          <p:spPr>
            <a:xfrm>
              <a:off x="8791533" y="5393709"/>
              <a:ext cx="2429110" cy="519822"/>
            </a:xfrm>
            <a:prstGeom prst="rect">
              <a:avLst/>
            </a:prstGeom>
            <a:grpFill/>
            <a:ln cap="rnd">
              <a:solidFill>
                <a:srgbClr val="FAF8F6"/>
              </a:solidFill>
            </a:ln>
          </p:spPr>
          <p:txBody>
            <a:bodyPr vert="horz" wrap="square" lIns="0" tIns="0" rIns="0" bIns="0" rtlCol="0" anchor="ctr" anchorCtr="0">
              <a:spAutoFit/>
            </a:bodyPr>
            <a:lstStyle/>
            <a:p>
              <a:pPr marL="0" marR="0" lvl="3" indent="0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 smtClean="0"/>
                <a:t>31,5 % уволенных молодых работников не отработали на предприятии 6 месяцев </a:t>
              </a:r>
              <a:endParaRPr lang="ru-RU" sz="1200" dirty="0"/>
            </a:p>
          </p:txBody>
        </p:sp>
      </p:grpSp>
      <p:sp>
        <p:nvSpPr>
          <p:cNvPr id="27" name="Текст 34">
            <a:extLst>
              <a:ext uri="{FF2B5EF4-FFF2-40B4-BE49-F238E27FC236}">
                <a16:creationId xmlns:a16="http://schemas.microsoft.com/office/drawing/2014/main" id="{623C632D-FED2-C54F-BDD5-ACCF47D7AC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6528" y="6359763"/>
            <a:ext cx="5209804" cy="360000"/>
          </a:xfrm>
        </p:spPr>
        <p:txBody>
          <a:bodyPr/>
          <a:lstStyle/>
          <a:p>
            <a:r>
              <a:rPr lang="ru-RU" dirty="0"/>
              <a:t>* на основании отчетов по численности филиала Производства полиметаллов АО «Уралэлектромедь»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459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A552AC-63BA-844C-AE95-37DF4C0F8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4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A552AC-63BA-844C-AE95-37DF4C0F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D38F2F-D251-1745-A4A6-1A0B8E99FD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0C0B4FC-FEAB-E740-810F-E5385C9D4D17}"/>
              </a:ext>
            </a:extLst>
          </p:cNvPr>
          <p:cNvSpPr/>
          <p:nvPr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197E55A-6050-B148-B4D4-B0991D7972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8515" y="1742133"/>
            <a:ext cx="5277485" cy="3877985"/>
          </a:xfrm>
        </p:spPr>
        <p:txBody>
          <a:bodyPr>
            <a:noAutofit/>
          </a:bodyPr>
          <a:lstStyle/>
          <a:p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2707596"/>
            <a:ext cx="10189455" cy="2375244"/>
          </a:xfrm>
        </p:spPr>
        <p:txBody>
          <a:bodyPr vert="horz">
            <a:normAutofit fontScale="90000"/>
          </a:bodyPr>
          <a:lstStyle/>
          <a:p>
            <a:r>
              <a:rPr lang="ru-RU" b="0" dirty="0"/>
              <a:t/>
            </a:r>
            <a:br>
              <a:rPr lang="ru-RU" b="0" dirty="0"/>
            </a:br>
            <a:r>
              <a:rPr lang="ru-RU" b="0" dirty="0" smtClean="0"/>
              <a:t>О </a:t>
            </a:r>
            <a:r>
              <a:rPr lang="ru-RU" dirty="0" smtClean="0"/>
              <a:t>ПРЕДПРИЯТИИ </a:t>
            </a:r>
            <a:r>
              <a:rPr lang="ru-RU" b="0" dirty="0"/>
              <a:t/>
            </a:r>
            <a:br>
              <a:rPr lang="ru-RU" b="0" dirty="0"/>
            </a:br>
            <a:r>
              <a:rPr lang="ru-RU" dirty="0"/>
              <a:t>АО «УРАЛЭЛЕКТРОМЕДЬ» </a:t>
            </a:r>
            <a:r>
              <a:rPr lang="ru-RU" b="0" dirty="0"/>
              <a:t/>
            </a:r>
            <a:br>
              <a:rPr lang="ru-RU" b="0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 </a:t>
            </a:r>
            <a:br>
              <a:rPr lang="ru-RU" dirty="0"/>
            </a:br>
            <a:r>
              <a:rPr lang="ru-RU" dirty="0" smtClean="0"/>
              <a:t> 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570A93F-90D4-2540-967F-CC35A3E0F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CD28CAB-7A4F-A349-B218-369ED001DD5B}"/>
              </a:ext>
            </a:extLst>
          </p:cNvPr>
          <p:cNvGrpSpPr/>
          <p:nvPr/>
        </p:nvGrpSpPr>
        <p:grpSpPr>
          <a:xfrm>
            <a:off x="229706" y="3895218"/>
            <a:ext cx="361110" cy="371578"/>
            <a:chOff x="383279" y="3833472"/>
            <a:chExt cx="361110" cy="371578"/>
          </a:xfrm>
          <a:solidFill>
            <a:schemeClr val="bg1"/>
          </a:solidFill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B8CCBC2-0160-8944-8E07-E7C729E0C800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3DAFE7B4-D1C7-204E-BE43-47827FE0405A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7896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4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41749B-1BBA-D04E-8CE0-2F067A7B3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5" y="243335"/>
            <a:ext cx="9611001" cy="553998"/>
          </a:xfrm>
        </p:spPr>
        <p:txBody>
          <a:bodyPr vert="horz"/>
          <a:lstStyle/>
          <a:p>
            <a:r>
              <a:rPr lang="ru-RU" sz="2000" dirty="0">
                <a:solidFill>
                  <a:schemeClr val="accent2"/>
                </a:solidFill>
                <a:latin typeface="Segoe UI" panose="020B0502040204020203" pitchFamily="34" charset="0"/>
              </a:rPr>
              <a:t>Акционерно общество  “Уралэлектромедь” один из крупнейших российских производителей рафинированной  меди и продукции из неё 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15124" y="818968"/>
            <a:ext cx="5102794" cy="541171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" t="17466" r="52156" b="15333"/>
          <a:stretch/>
        </p:blipFill>
        <p:spPr>
          <a:xfrm>
            <a:off x="1640973" y="1060832"/>
            <a:ext cx="3324432" cy="4927982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25477" y="605492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>
                <a:solidFill>
                  <a:schemeClr val="accent2"/>
                </a:solidFill>
                <a:latin typeface="Segoe UI" panose="020B0502040204020203" pitchFamily="34" charset="0"/>
              </a:rPr>
              <a:t>С  1999 года работает в составе </a:t>
            </a:r>
          </a:p>
          <a:p>
            <a:r>
              <a:rPr lang="ru-RU" b="1" dirty="0">
                <a:solidFill>
                  <a:schemeClr val="accent2"/>
                </a:solidFill>
                <a:latin typeface="Segoe UI" panose="020B0502040204020203" pitchFamily="34" charset="0"/>
              </a:rPr>
              <a:t>Уральской горно-металлургической компании.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1255222" y="863445"/>
            <a:ext cx="3832167" cy="265283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46800" bIns="46800" rtlCol="0" anchor="t"/>
          <a:lstStyle/>
          <a:p>
            <a:pPr algn="l"/>
            <a:endParaRPr lang="ru-RU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9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7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F41749B-1BBA-D04E-8CE0-2F067A7B3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5060266" cy="332399"/>
          </a:xfrm>
        </p:spPr>
        <p:txBody>
          <a:bodyPr vert="horz"/>
          <a:lstStyle/>
          <a:p>
            <a:r>
              <a:rPr lang="ru-RU" dirty="0"/>
              <a:t>Кадровый состав предприятия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74265" y="1920098"/>
            <a:ext cx="6484921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500"/>
              </a:spcAft>
            </a:pPr>
            <a:r>
              <a:rPr lang="ru-RU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ерсонал – важнейший  капитал предприятия, поэтому реализация социально ориентированной политики является нашим приоритетом. </a:t>
            </a:r>
          </a:p>
          <a:p>
            <a:pPr>
              <a:spcAft>
                <a:spcPts val="1500"/>
              </a:spcAft>
            </a:pPr>
            <a:r>
              <a:rPr lang="ru-RU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 АО «Уралэлектромедь» работает 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более 7 тыс. человек, из них 69,5 % – мужчины, 30,5 % – женщины.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1500"/>
              </a:spcAft>
            </a:pPr>
            <a:r>
              <a:rPr lang="ru-RU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Численность персонала в возрасте</a:t>
            </a:r>
            <a:r>
              <a:rPr lang="ru-RU" b="1" dirty="0">
                <a:solidFill>
                  <a:srgbClr val="00582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о 35 лет составляет 31,4%. </a:t>
            </a:r>
          </a:p>
          <a:p>
            <a:pPr>
              <a:spcAft>
                <a:spcPts val="1500"/>
              </a:spcAft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редний возраст работников – 41,7 года.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1500"/>
              </a:spcAft>
            </a:pPr>
            <a:r>
              <a:rPr lang="ru-RU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Численность работников с высшим и средним профессиональным образованием составляет </a:t>
            </a:r>
            <a:r>
              <a:rPr lang="ru-RU" b="1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58,8 %.</a:t>
            </a:r>
            <a:r>
              <a:rPr lang="ru-RU" dirty="0">
                <a:solidFill>
                  <a:srgbClr val="2C344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endParaRPr lang="ru-RU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4204228937"/>
              </p:ext>
            </p:extLst>
          </p:nvPr>
        </p:nvGraphicFramePr>
        <p:xfrm>
          <a:off x="6981107" y="1054762"/>
          <a:ext cx="4627874" cy="4916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282395" y="913685"/>
            <a:ext cx="46555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Распределение персонала по категориям</a:t>
            </a:r>
          </a:p>
        </p:txBody>
      </p:sp>
    </p:spTree>
    <p:extLst>
      <p:ext uri="{BB962C8B-B14F-4D97-AF65-F5344CB8AC3E}">
        <p14:creationId xmlns:p14="http://schemas.microsoft.com/office/powerpoint/2010/main" val="561500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9A552AC-63BA-844C-AE95-37DF4C0F82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99A552AC-63BA-844C-AE95-37DF4C0F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3BD38F2F-D251-1745-A4A6-1A0B8E99FD22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6"/>
          <a:srcRect t="7813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30C0B4FC-FEAB-E740-810F-E5385C9D4D17}"/>
              </a:ext>
            </a:extLst>
          </p:cNvPr>
          <p:cNvSpPr/>
          <p:nvPr/>
        </p:nvSpPr>
        <p:spPr>
          <a:xfrm>
            <a:off x="-1" y="0"/>
            <a:ext cx="12191999" cy="685800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alpha val="0"/>
                </a:schemeClr>
              </a:gs>
              <a:gs pos="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3197E55A-6050-B148-B4D4-B0991D79722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8515" y="1742133"/>
            <a:ext cx="5277485" cy="3877985"/>
          </a:xfrm>
        </p:spPr>
        <p:txBody>
          <a:bodyPr>
            <a:noAutofit/>
          </a:bodyPr>
          <a:lstStyle/>
          <a:p>
            <a:r>
              <a:rPr lang="ru-RU" dirty="0" smtClean="0"/>
              <a:t>02</a:t>
            </a:r>
            <a:endParaRPr lang="ru-RU" dirty="0"/>
          </a:p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05EC3466-F580-1A41-AF83-6EF09D258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230" y="3786954"/>
            <a:ext cx="7481795" cy="767461"/>
          </a:xfrm>
        </p:spPr>
        <p:txBody>
          <a:bodyPr vert="horz">
            <a:noAutofit/>
          </a:bodyPr>
          <a:lstStyle/>
          <a:p>
            <a:r>
              <a:rPr lang="ru-RU" sz="4400" dirty="0"/>
              <a:t>Актуальность проекта</a:t>
            </a:r>
            <a:endParaRPr lang="ru-RU" sz="4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F570A93F-90D4-2540-967F-CC35A3E0F9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9CD28CAB-7A4F-A349-B218-369ED001DD5B}"/>
              </a:ext>
            </a:extLst>
          </p:cNvPr>
          <p:cNvGrpSpPr/>
          <p:nvPr/>
        </p:nvGrpSpPr>
        <p:grpSpPr>
          <a:xfrm>
            <a:off x="229706" y="3895218"/>
            <a:ext cx="361110" cy="371578"/>
            <a:chOff x="383279" y="3833472"/>
            <a:chExt cx="361110" cy="371578"/>
          </a:xfrm>
          <a:solidFill>
            <a:schemeClr val="bg1"/>
          </a:solidFill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B8CCBC2-0160-8944-8E07-E7C729E0C800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3DAFE7B4-D1C7-204E-BE43-47827FE0405A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6266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7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82DEBD8-8B66-FD44-96D7-F25356BA5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625" y="403225"/>
            <a:ext cx="9070975" cy="387798"/>
          </a:xfrm>
        </p:spPr>
        <p:txBody>
          <a:bodyPr/>
          <a:lstStyle/>
          <a:p>
            <a:r>
              <a:rPr lang="ru-RU" sz="2800" dirty="0" smtClean="0"/>
              <a:t>Снижение численности </a:t>
            </a:r>
            <a:r>
              <a:rPr lang="ru-RU" sz="2800" dirty="0"/>
              <a:t>населения ГО Кировград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29CCB7-E699-0BE8-0936-1CAFC324F309}"/>
              </a:ext>
            </a:extLst>
          </p:cNvPr>
          <p:cNvSpPr txBox="1"/>
          <p:nvPr/>
        </p:nvSpPr>
        <p:spPr>
          <a:xfrm>
            <a:off x="361333" y="1094198"/>
            <a:ext cx="11947626" cy="461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prstClr val="black"/>
                </a:solidFill>
                <a:latin typeface="Calibri" panose="020F0502020204030204"/>
              </a:rPr>
              <a:t>Снижение численности населения 2000 – 2021 </a:t>
            </a:r>
            <a:r>
              <a:rPr lang="ru-RU" b="1" dirty="0" err="1">
                <a:solidFill>
                  <a:prstClr val="black"/>
                </a:solidFill>
                <a:latin typeface="Calibri" panose="020F0502020204030204"/>
              </a:rPr>
              <a:t>г.г</a:t>
            </a:r>
            <a:r>
              <a:rPr lang="ru-RU" b="1" dirty="0">
                <a:solidFill>
                  <a:prstClr val="black"/>
                </a:solidFill>
                <a:latin typeface="Calibri" panose="020F0502020204030204"/>
              </a:rPr>
              <a:t>. на </a:t>
            </a:r>
            <a:r>
              <a:rPr lang="ru-RU" sz="2400" b="1" dirty="0">
                <a:solidFill>
                  <a:srgbClr val="FF0000"/>
                </a:solidFill>
                <a:latin typeface="Calibri" panose="020F0502020204030204"/>
              </a:rPr>
              <a:t>24 %   </a:t>
            </a:r>
            <a:r>
              <a:rPr lang="ru-RU" sz="2400" b="1" dirty="0">
                <a:solidFill>
                  <a:prstClr val="black"/>
                </a:solidFill>
                <a:latin typeface="Calibri" panose="020F0502020204030204"/>
              </a:rPr>
              <a:t>- </a:t>
            </a:r>
            <a:r>
              <a:rPr lang="ru-RU" b="1" dirty="0">
                <a:solidFill>
                  <a:prstClr val="black"/>
                </a:solidFill>
                <a:latin typeface="Calibri" panose="020F0502020204030204"/>
              </a:rPr>
              <a:t>прямая угроза кадровой безопасности предприятия 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1322" y="1993929"/>
            <a:ext cx="6419644" cy="3145809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16C6ED1-B5F2-D169-C61C-759916DD0D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09625" y="1993929"/>
            <a:ext cx="4870108" cy="377985"/>
          </a:xfrm>
          <a:prstGeom prst="rect">
            <a:avLst/>
          </a:prstGeom>
        </p:spPr>
      </p:pic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DE2A94B7-67BE-D8BC-73A2-4D9C3EB3B2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903076"/>
              </p:ext>
            </p:extLst>
          </p:nvPr>
        </p:nvGraphicFramePr>
        <p:xfrm>
          <a:off x="7027879" y="2940585"/>
          <a:ext cx="4991449" cy="30403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16624">
                  <a:extLst>
                    <a:ext uri="{9D8B030D-6E8A-4147-A177-3AD203B41FA5}">
                      <a16:colId xmlns:a16="http://schemas.microsoft.com/office/drawing/2014/main" val="3500672847"/>
                    </a:ext>
                  </a:extLst>
                </a:gridCol>
                <a:gridCol w="657001">
                  <a:extLst>
                    <a:ext uri="{9D8B030D-6E8A-4147-A177-3AD203B41FA5}">
                      <a16:colId xmlns:a16="http://schemas.microsoft.com/office/drawing/2014/main" val="777316627"/>
                    </a:ext>
                  </a:extLst>
                </a:gridCol>
                <a:gridCol w="656538">
                  <a:extLst>
                    <a:ext uri="{9D8B030D-6E8A-4147-A177-3AD203B41FA5}">
                      <a16:colId xmlns:a16="http://schemas.microsoft.com/office/drawing/2014/main" val="631438870"/>
                    </a:ext>
                  </a:extLst>
                </a:gridCol>
                <a:gridCol w="657001">
                  <a:extLst>
                    <a:ext uri="{9D8B030D-6E8A-4147-A177-3AD203B41FA5}">
                      <a16:colId xmlns:a16="http://schemas.microsoft.com/office/drawing/2014/main" val="481034122"/>
                    </a:ext>
                  </a:extLst>
                </a:gridCol>
                <a:gridCol w="656538">
                  <a:extLst>
                    <a:ext uri="{9D8B030D-6E8A-4147-A177-3AD203B41FA5}">
                      <a16:colId xmlns:a16="http://schemas.microsoft.com/office/drawing/2014/main" val="3380707747"/>
                    </a:ext>
                  </a:extLst>
                </a:gridCol>
                <a:gridCol w="1247747">
                  <a:extLst>
                    <a:ext uri="{9D8B030D-6E8A-4147-A177-3AD203B41FA5}">
                      <a16:colId xmlns:a16="http://schemas.microsoft.com/office/drawing/2014/main" val="2908379717"/>
                    </a:ext>
                  </a:extLst>
                </a:gridCol>
              </a:tblGrid>
              <a:tr h="1422983"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* Численность занимающихся физической культурой и спортом из  общей численности занимающихся в возрасте: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+/-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чины</a:t>
                      </a:r>
                      <a:r>
                        <a:rPr lang="en-US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5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менения</a:t>
                      </a:r>
                      <a:r>
                        <a:rPr lang="en-US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05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я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extLst>
                  <a:ext uri="{0D108BD9-81ED-4DB2-BD59-A6C34878D82A}">
                    <a16:rowId xmlns:a16="http://schemas.microsoft.com/office/drawing/2014/main" val="1496168994"/>
                  </a:ext>
                </a:extLst>
              </a:tr>
              <a:tr h="632436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6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24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34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+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8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еличение занимающихся за счет доступности спортивных объектов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extLst>
                  <a:ext uri="{0D108BD9-81ED-4DB2-BD59-A6C34878D82A}">
                    <a16:rowId xmlns:a16="http://schemas.microsoft.com/office/drawing/2014/main" val="3814332243"/>
                  </a:ext>
                </a:extLst>
              </a:tr>
              <a:tr h="790546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-18 </a:t>
                      </a:r>
                      <a:r>
                        <a:rPr lang="en-US" sz="2000" b="1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т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31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0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9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2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1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0" i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еньшение с окончанием учебных заведений и переездом в другой город</a:t>
                      </a:r>
                      <a:endParaRPr lang="ru-RU" sz="1050" b="0" i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259" marR="39259" marT="0" marB="0" anchor="ctr"/>
                </a:tc>
                <a:extLst>
                  <a:ext uri="{0D108BD9-81ED-4DB2-BD59-A6C34878D82A}">
                    <a16:rowId xmlns:a16="http://schemas.microsoft.com/office/drawing/2014/main" val="4065291161"/>
                  </a:ext>
                </a:extLst>
              </a:tr>
            </a:tbl>
          </a:graphicData>
        </a:graphic>
      </p:graphicFrame>
      <p:sp>
        <p:nvSpPr>
          <p:cNvPr id="10" name="Текст 9">
            <a:extLst>
              <a:ext uri="{FF2B5EF4-FFF2-40B4-BE49-F238E27FC236}">
                <a16:creationId xmlns:a16="http://schemas.microsoft.com/office/drawing/2014/main" id="{450EEF7F-A952-5F3D-A8D6-E153067A3209}"/>
              </a:ext>
            </a:extLst>
          </p:cNvPr>
          <p:cNvSpPr txBox="1">
            <a:spLocks noGrp="1"/>
          </p:cNvSpPr>
          <p:nvPr>
            <p:ph type="body" sz="quarter" idx="10"/>
          </p:nvPr>
        </p:nvSpPr>
        <p:spPr>
          <a:xfrm>
            <a:off x="178197" y="6105700"/>
            <a:ext cx="7455980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9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* </a:t>
            </a:r>
            <a:r>
              <a:rPr lang="ru-RU" sz="90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анные по количеству населения получены от службы государственной статистики.</a:t>
            </a:r>
            <a:endParaRPr lang="ru-RU" sz="900" dirty="0"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50000"/>
              </a:lnSpc>
            </a:pPr>
            <a:r>
              <a:rPr lang="ru-RU" sz="900" b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* *  </a:t>
            </a:r>
            <a:r>
              <a:rPr lang="ru-RU" sz="9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 материалам доклада Главы Кировградского городского округа</a:t>
            </a:r>
            <a:r>
              <a:rPr lang="ru-RU" sz="9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ькина А. А.</a:t>
            </a:r>
            <a:r>
              <a:rPr lang="ru-RU" sz="9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 достигнутых значениях показателей для оценки эффективности деятельности органов местного самоуправления за 2021 год</a:t>
            </a:r>
            <a:r>
              <a:rPr lang="ru-RU" sz="9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 планируемых значениях на трехлетний период</a:t>
            </a:r>
          </a:p>
        </p:txBody>
      </p:sp>
    </p:spTree>
    <p:extLst>
      <p:ext uri="{BB962C8B-B14F-4D97-AF65-F5344CB8AC3E}">
        <p14:creationId xmlns:p14="http://schemas.microsoft.com/office/powerpoint/2010/main" val="25456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BDCBE73B-599E-92BC-3E71-4C03A7D1C6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dirty="0" smtClean="0"/>
              <a:t>Отток </a:t>
            </a:r>
            <a:r>
              <a:rPr lang="ru-RU" sz="2800" dirty="0" smtClean="0"/>
              <a:t> </a:t>
            </a:r>
            <a:r>
              <a:rPr lang="ru-RU" sz="2800" dirty="0"/>
              <a:t>выпускников школ и СПО </a:t>
            </a:r>
            <a:r>
              <a:rPr lang="ru-RU" sz="2800" dirty="0" smtClean="0"/>
              <a:t>из </a:t>
            </a:r>
            <a:r>
              <a:rPr lang="ru-RU" sz="2800" dirty="0" err="1" smtClean="0"/>
              <a:t>г.Кировград</a:t>
            </a:r>
            <a:r>
              <a:rPr lang="ru-RU" sz="2800" dirty="0" smtClean="0"/>
              <a:t> </a:t>
            </a:r>
            <a:endParaRPr lang="ru-RU" sz="2800" dirty="0"/>
          </a:p>
        </p:txBody>
      </p:sp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EBC1309B-A651-FF53-CC6C-6FBB382F32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69965529"/>
              </p:ext>
            </p:extLst>
          </p:nvPr>
        </p:nvGraphicFramePr>
        <p:xfrm>
          <a:off x="393405" y="1577869"/>
          <a:ext cx="5796793" cy="2824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9E19793-2563-122B-8FF5-68C8F0AAA694}"/>
              </a:ext>
            </a:extLst>
          </p:cNvPr>
          <p:cNvSpPr txBox="1"/>
          <p:nvPr/>
        </p:nvSpPr>
        <p:spPr>
          <a:xfrm>
            <a:off x="426956" y="1220776"/>
            <a:ext cx="53698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оустройство выпускников СПО </a:t>
            </a:r>
          </a:p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филиал ППМ АО «Уралэлектромедь» </a:t>
            </a:r>
          </a:p>
        </p:txBody>
      </p:sp>
      <p:graphicFrame>
        <p:nvGraphicFramePr>
          <p:cNvPr id="9" name="Диаграмма 8">
            <a:extLst>
              <a:ext uri="{FF2B5EF4-FFF2-40B4-BE49-F238E27FC236}">
                <a16:creationId xmlns:a16="http://schemas.microsoft.com/office/drawing/2014/main" id="{0FAB611C-FE17-9F89-58A3-66A23128CB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2762383"/>
              </p:ext>
            </p:extLst>
          </p:nvPr>
        </p:nvGraphicFramePr>
        <p:xfrm>
          <a:off x="5577542" y="1338585"/>
          <a:ext cx="4595641" cy="2824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Прямоугольная выноска 33">
            <a:extLst>
              <a:ext uri="{FF2B5EF4-FFF2-40B4-BE49-F238E27FC236}">
                <a16:creationId xmlns:a16="http://schemas.microsoft.com/office/drawing/2014/main" id="{EE7F6981-AD87-B4B5-6E72-62436682F0F4}"/>
              </a:ext>
            </a:extLst>
          </p:cNvPr>
          <p:cNvSpPr/>
          <p:nvPr/>
        </p:nvSpPr>
        <p:spPr>
          <a:xfrm>
            <a:off x="8791054" y="1014735"/>
            <a:ext cx="2764259" cy="647700"/>
          </a:xfrm>
          <a:prstGeom prst="wedgeRectCallout">
            <a:avLst>
              <a:gd name="adj1" fmla="val -87463"/>
              <a:gd name="adj2" fmla="val 71743"/>
            </a:avLst>
          </a:prstGeom>
          <a:solidFill>
            <a:srgbClr val="5B9BD5">
              <a:lumMod val="20000"/>
              <a:lumOff val="80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Выпускники 9 классов </a:t>
            </a: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D4DE6246-3DCA-C786-5DEE-A9EE13F7ED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1276151"/>
              </p:ext>
            </p:extLst>
          </p:nvPr>
        </p:nvGraphicFramePr>
        <p:xfrm>
          <a:off x="6462436" y="3409645"/>
          <a:ext cx="6082018" cy="2824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Прямоугольная выноска 34">
            <a:extLst>
              <a:ext uri="{FF2B5EF4-FFF2-40B4-BE49-F238E27FC236}">
                <a16:creationId xmlns:a16="http://schemas.microsoft.com/office/drawing/2014/main" id="{9B903497-82A3-AE33-9B22-E2531B701643}"/>
              </a:ext>
            </a:extLst>
          </p:cNvPr>
          <p:cNvSpPr/>
          <p:nvPr/>
        </p:nvSpPr>
        <p:spPr>
          <a:xfrm>
            <a:off x="3848930" y="5554922"/>
            <a:ext cx="3895725" cy="647700"/>
          </a:xfrm>
          <a:prstGeom prst="wedgeRectCallout">
            <a:avLst>
              <a:gd name="adj1" fmla="val 55450"/>
              <a:gd name="adj2" fmla="val -113971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Выпускники 11  классов </a:t>
            </a:r>
          </a:p>
        </p:txBody>
      </p:sp>
    </p:spTree>
    <p:extLst>
      <p:ext uri="{BB962C8B-B14F-4D97-AF65-F5344CB8AC3E}">
        <p14:creationId xmlns:p14="http://schemas.microsoft.com/office/powerpoint/2010/main" val="346532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8C1A9B6-63A0-CD45-AD42-537B84E89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4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D8C1A9B6-63A0-CD45-AD42-537B84E89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164708" y="369610"/>
            <a:ext cx="83494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Ежегодная потребность в выпускниках СПО </a:t>
            </a:r>
            <a:r>
              <a:rPr lang="ru-RU" sz="2000" dirty="0" smtClean="0"/>
              <a:t>ГО </a:t>
            </a:r>
            <a:r>
              <a:rPr lang="ru-RU" sz="2000" dirty="0" err="1"/>
              <a:t>Кировгад</a:t>
            </a:r>
            <a:r>
              <a:rPr lang="ru-RU" sz="2000" dirty="0"/>
              <a:t> 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990341043"/>
              </p:ext>
            </p:extLst>
          </p:nvPr>
        </p:nvGraphicFramePr>
        <p:xfrm>
          <a:off x="238338" y="1253504"/>
          <a:ext cx="5930900" cy="42809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979578" y="1253504"/>
            <a:ext cx="575876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Перечень  востребованных специальностей и образовательных программ СПО  ГО Кировград </a:t>
            </a:r>
          </a:p>
        </p:txBody>
      </p:sp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2360149049"/>
              </p:ext>
            </p:extLst>
          </p:nvPr>
        </p:nvGraphicFramePr>
        <p:xfrm>
          <a:off x="6512425" y="2169662"/>
          <a:ext cx="4693072" cy="37761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49130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41">
      <a:dk1>
        <a:srgbClr val="000000"/>
      </a:dk1>
      <a:lt1>
        <a:srgbClr val="FFFFFF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 anchor="t">
        <a:spAutoFit/>
      </a:bodyPr>
      <a:lstStyle>
        <a:defPPr algn="l">
          <a:defRPr sz="12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Другая 141">
      <a:dk1>
        <a:srgbClr val="000000"/>
      </a:dk1>
      <a:lt1>
        <a:srgbClr val="FFFFFF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 anchor="t">
        <a:spAutoFit/>
      </a:bodyPr>
      <a:lstStyle>
        <a:defPPr algn="l">
          <a:defRPr sz="12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FF11B57AF927E48A713F8B75CFE1B46" ma:contentTypeVersion="0" ma:contentTypeDescription="Создание документа." ma:contentTypeScope="" ma:versionID="806c17182c6caab74b330c4544faf8f6">
  <xsd:schema xmlns:xsd="http://www.w3.org/2001/XMLSchema" xmlns:xs="http://www.w3.org/2001/XMLSchema" xmlns:p="http://schemas.microsoft.com/office/2006/metadata/properties" xmlns:ns2="2eb23eb2-4919-4bd4-b5be-0d6d4eb9c3d7" targetNamespace="http://schemas.microsoft.com/office/2006/metadata/properties" ma:root="true" ma:fieldsID="9a03c2cbe4aa3cf1f9477f399a9634a0" ns2:_="">
    <xsd:import namespace="2eb23eb2-4919-4bd4-b5be-0d6d4eb9c3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23eb2-4919-4bd4-b5be-0d6d4eb9c3d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eb23eb2-4919-4bd4-b5be-0d6d4eb9c3d7">YHEFWEUWANX7-343-3</_dlc_DocId>
    <_dlc_DocIdUrl xmlns="2eb23eb2-4919-4bd4-b5be-0d6d4eb9c3d7">
      <Url>https://corp.ugmk.com/_layouts/15/DocIdRedir.aspx?ID=YHEFWEUWANX7-343-3</Url>
      <Description>YHEFWEUWANX7-343-3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1256983-9CB8-4575-A9DC-159CA9215F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b23eb2-4919-4bd4-b5be-0d6d4eb9c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8155F8-E5E1-434B-B688-CB1A13F20A91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D9678E1-76D2-448C-A408-D6EACF08EDF4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2eb23eb2-4919-4bd4-b5be-0d6d4eb9c3d7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30FFB783-7400-4D54-9394-A0A3DD7A4C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075</TotalTime>
  <Words>1261</Words>
  <Application>Microsoft Office PowerPoint</Application>
  <PresentationFormat>Широкоэкранный</PresentationFormat>
  <Paragraphs>174</Paragraphs>
  <Slides>2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6" baseType="lpstr">
      <vt:lpstr>Arial</vt:lpstr>
      <vt:lpstr>Calibri</vt:lpstr>
      <vt:lpstr>Euclid Circular A</vt:lpstr>
      <vt:lpstr>Graphik</vt:lpstr>
      <vt:lpstr>Segoe UI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 О ПРЕДПРИЯТИИ  АО «УРАЛЭЛЕКТРОМЕДЬ»       </vt:lpstr>
      <vt:lpstr>Акционерно общество  “Уралэлектромедь” один из крупнейших российских производителей рафинированной  меди и продукции из неё </vt:lpstr>
      <vt:lpstr>Кадровый состав предприятия </vt:lpstr>
      <vt:lpstr>Актуальность проекта</vt:lpstr>
      <vt:lpstr>Снижение численности населения ГО Кировград </vt:lpstr>
      <vt:lpstr>Отток  выпускников школ и СПО из г.Кировград </vt:lpstr>
      <vt:lpstr>Презентация PowerPoint</vt:lpstr>
      <vt:lpstr>Презентация PowerPoint</vt:lpstr>
      <vt:lpstr>Карта целей  Обеспечение персоналом предприятия</vt:lpstr>
      <vt:lpstr>Реконструкция здания и строительство новых мастерских филиала колледжа им И.И.Ползунова в г.Кировград   </vt:lpstr>
      <vt:lpstr>Презентация PowerPoint</vt:lpstr>
      <vt:lpstr>Система работы по построению практикоориентированной подготовке </vt:lpstr>
      <vt:lpstr>Презентация PowerPoint</vt:lpstr>
      <vt:lpstr>Выводы </vt:lpstr>
      <vt:lpstr>Ожидаемые  эффекты от реализации проекта </vt:lpstr>
      <vt:lpstr>Корреляция проекта со стратегическим задачами развития РФ </vt:lpstr>
      <vt:lpstr>Презентация PowerPoint</vt:lpstr>
      <vt:lpstr>Система работы по ранней профориентации  </vt:lpstr>
      <vt:lpstr>Работа по профессиональной   ориентации учащихся общеобразовательных учреждений</vt:lpstr>
      <vt:lpstr> Использование лучших собственных практик по ранней профориентации* </vt:lpstr>
      <vt:lpstr>Анализ кадровой ситуации  филиал ППМ АО «Уралэлектормедь» </vt:lpstr>
      <vt:lpstr>Анализ потребности в персонале филиала ППМ 2018-2021 г.г.</vt:lpstr>
      <vt:lpstr>Средние сроки закрытия вакансий по востребованным на филиале ППМ профессиям 2018-2021 г.г.</vt:lpstr>
      <vt:lpstr>Анализ текучести кадров филиала ППМ АО «Уралэлектромедь»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9990007889@gmail.com</dc:creator>
  <cp:lastModifiedBy>Шарипова Наталья Льфатовна</cp:lastModifiedBy>
  <cp:revision>1160</cp:revision>
  <cp:lastPrinted>2022-06-19T12:23:01Z</cp:lastPrinted>
  <dcterms:created xsi:type="dcterms:W3CDTF">2021-03-31T07:59:31Z</dcterms:created>
  <dcterms:modified xsi:type="dcterms:W3CDTF">2022-06-30T04:4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F11B57AF927E48A713F8B75CFE1B46</vt:lpwstr>
  </property>
  <property fmtid="{D5CDD505-2E9C-101B-9397-08002B2CF9AE}" pid="3" name="_dlc_DocIdItemGuid">
    <vt:lpwstr>e1f57fe3-0f07-486e-9892-b2d28e186dbc</vt:lpwstr>
  </property>
</Properties>
</file>